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xls" ContentType="application/vnd.ms-excel"/>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43"/>
  </p:notesMasterIdLst>
  <p:handoutMasterIdLst>
    <p:handoutMasterId r:id="rId44"/>
  </p:handoutMasterIdLst>
  <p:sldIdLst>
    <p:sldId id="455" r:id="rId3"/>
    <p:sldId id="2147473530" r:id="rId4"/>
    <p:sldId id="2147473704" r:id="rId5"/>
    <p:sldId id="2147473706" r:id="rId6"/>
    <p:sldId id="483" r:id="rId7"/>
    <p:sldId id="2147473707" r:id="rId8"/>
    <p:sldId id="2147473724" r:id="rId9"/>
    <p:sldId id="2147473725" r:id="rId10"/>
    <p:sldId id="2147473729" r:id="rId11"/>
    <p:sldId id="2147473726" r:id="rId12"/>
    <p:sldId id="2147473727" r:id="rId13"/>
    <p:sldId id="2147473728" r:id="rId14"/>
    <p:sldId id="2147473657" r:id="rId15"/>
    <p:sldId id="2147473564" r:id="rId16"/>
    <p:sldId id="2147473730" r:id="rId17"/>
    <p:sldId id="2147473528" r:id="rId18"/>
    <p:sldId id="2147473552" r:id="rId19"/>
    <p:sldId id="2147473518" r:id="rId20"/>
    <p:sldId id="2147473524" r:id="rId21"/>
    <p:sldId id="2147473690" r:id="rId22"/>
    <p:sldId id="2147473574" r:id="rId23"/>
    <p:sldId id="2147473695" r:id="rId24"/>
    <p:sldId id="2147473705" r:id="rId25"/>
    <p:sldId id="291" r:id="rId26"/>
    <p:sldId id="290" r:id="rId27"/>
    <p:sldId id="2147473519" r:id="rId28"/>
    <p:sldId id="2147473721" r:id="rId29"/>
    <p:sldId id="2147473632" r:id="rId30"/>
    <p:sldId id="2147473723" r:id="rId31"/>
    <p:sldId id="2147473719" r:id="rId32"/>
    <p:sldId id="2147473696" r:id="rId33"/>
    <p:sldId id="2147473595" r:id="rId34"/>
    <p:sldId id="2147473709" r:id="rId35"/>
    <p:sldId id="2147473521" r:id="rId36"/>
    <p:sldId id="2147473522" r:id="rId37"/>
    <p:sldId id="2147473703" r:id="rId38"/>
    <p:sldId id="2147468741" r:id="rId39"/>
    <p:sldId id="2147473474" r:id="rId40"/>
    <p:sldId id="2147473476" r:id="rId41"/>
    <p:sldId id="2147473466" r:id="rId42"/>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000099"/>
    <a:srgbClr val="960000"/>
    <a:srgbClr val="381850"/>
    <a:srgbClr val="040206"/>
    <a:srgbClr val="CCCC00"/>
    <a:srgbClr val="6C00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F5808B-5BAF-4BA4-81CA-1D5FCEFD69CD}" v="3" dt="2023-05-08T00:13:27.3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45" autoAdjust="0"/>
    <p:restoredTop sz="62799" autoAdjust="0"/>
  </p:normalViewPr>
  <p:slideViewPr>
    <p:cSldViewPr snapToGrid="0">
      <p:cViewPr varScale="1">
        <p:scale>
          <a:sx n="74" d="100"/>
          <a:sy n="74" d="100"/>
        </p:scale>
        <p:origin x="-630" y="-90"/>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BCAACB42-B97D-4620-8357-0C9205EAEA42}"/>
    <pc:docChg chg="undo custSel delSld modSld">
      <pc:chgData name="Tường SKHĐT" userId="ab9568c39a88b08a" providerId="LiveId" clId="{BCAACB42-B97D-4620-8357-0C9205EAEA42}" dt="2023-02-21T09:57:19.790" v="29" actId="2696"/>
      <pc:docMkLst>
        <pc:docMk/>
      </pc:docMkLst>
      <pc:sldChg chg="modSp mod">
        <pc:chgData name="Tường SKHĐT" userId="ab9568c39a88b08a" providerId="LiveId" clId="{BCAACB42-B97D-4620-8357-0C9205EAEA42}" dt="2023-02-21T09:55:13.719" v="7" actId="20577"/>
        <pc:sldMkLst>
          <pc:docMk/>
          <pc:sldMk cId="1596329165" sldId="455"/>
        </pc:sldMkLst>
        <pc:spChg chg="mod">
          <ac:chgData name="Tường SKHĐT" userId="ab9568c39a88b08a" providerId="LiveId" clId="{BCAACB42-B97D-4620-8357-0C9205EAEA42}" dt="2023-02-21T09:55:10.690" v="4" actId="20577"/>
          <ac:spMkLst>
            <pc:docMk/>
            <pc:sldMk cId="1596329165" sldId="455"/>
            <ac:spMk id="7" creationId="{E508593D-8C0D-4163-9A4A-7D6922F8A0DF}"/>
          </ac:spMkLst>
        </pc:spChg>
        <pc:spChg chg="mod">
          <ac:chgData name="Tường SKHĐT" userId="ab9568c39a88b08a" providerId="LiveId" clId="{BCAACB42-B97D-4620-8357-0C9205EAEA42}" dt="2023-02-21T09:55:13.719" v="7" actId="20577"/>
          <ac:spMkLst>
            <pc:docMk/>
            <pc:sldMk cId="1596329165" sldId="455"/>
            <ac:spMk id="27" creationId="{87251008-0654-48EC-B85B-8EA2BB576990}"/>
          </ac:spMkLst>
        </pc:spChg>
      </pc:sldChg>
      <pc:sldChg chg="modSp mod">
        <pc:chgData name="Tường SKHĐT" userId="ab9568c39a88b08a" providerId="LiveId" clId="{BCAACB42-B97D-4620-8357-0C9205EAEA42}" dt="2023-02-21T09:55:26.447" v="13" actId="20577"/>
        <pc:sldMkLst>
          <pc:docMk/>
          <pc:sldMk cId="4051799181" sldId="483"/>
        </pc:sldMkLst>
        <pc:spChg chg="mod">
          <ac:chgData name="Tường SKHĐT" userId="ab9568c39a88b08a" providerId="LiveId" clId="{BCAACB42-B97D-4620-8357-0C9205EAEA42}" dt="2023-02-21T09:55:26.447" v="13" actId="20577"/>
          <ac:spMkLst>
            <pc:docMk/>
            <pc:sldMk cId="4051799181" sldId="483"/>
            <ac:spMk id="4" creationId="{00000000-0000-0000-0000-000000000000}"/>
          </ac:spMkLst>
        </pc:spChg>
      </pc:sldChg>
      <pc:sldChg chg="modSp mod">
        <pc:chgData name="Tường SKHĐT" userId="ab9568c39a88b08a" providerId="LiveId" clId="{BCAACB42-B97D-4620-8357-0C9205EAEA42}" dt="2023-02-21T09:55:38.710" v="18" actId="20577"/>
        <pc:sldMkLst>
          <pc:docMk/>
          <pc:sldMk cId="4092993056" sldId="2147473513"/>
        </pc:sldMkLst>
        <pc:spChg chg="mod">
          <ac:chgData name="Tường SKHĐT" userId="ab9568c39a88b08a" providerId="LiveId" clId="{BCAACB42-B97D-4620-8357-0C9205EAEA42}" dt="2023-02-21T09:55:33.543" v="16" actId="20577"/>
          <ac:spMkLst>
            <pc:docMk/>
            <pc:sldMk cId="4092993056" sldId="2147473513"/>
            <ac:spMk id="4" creationId="{00000000-0000-0000-0000-000000000000}"/>
          </ac:spMkLst>
        </pc:spChg>
        <pc:graphicFrameChg chg="modGraphic">
          <ac:chgData name="Tường SKHĐT" userId="ab9568c39a88b08a" providerId="LiveId" clId="{BCAACB42-B97D-4620-8357-0C9205EAEA42}" dt="2023-02-21T09:55:38.710" v="18" actId="20577"/>
          <ac:graphicFrameMkLst>
            <pc:docMk/>
            <pc:sldMk cId="4092993056" sldId="2147473513"/>
            <ac:graphicFrameMk id="7" creationId="{44FD6820-12F5-8C73-583C-7D9F46E04367}"/>
          </ac:graphicFrameMkLst>
        </pc:graphicFrameChg>
      </pc:sldChg>
      <pc:sldChg chg="del">
        <pc:chgData name="Tường SKHĐT" userId="ab9568c39a88b08a" providerId="LiveId" clId="{BCAACB42-B97D-4620-8357-0C9205EAEA42}" dt="2023-02-21T09:57:19.790" v="29" actId="2696"/>
        <pc:sldMkLst>
          <pc:docMk/>
          <pc:sldMk cId="94820056" sldId="2147473527"/>
        </pc:sldMkLst>
      </pc:sldChg>
      <pc:sldChg chg="modSp mod">
        <pc:chgData name="Tường SKHĐT" userId="ab9568c39a88b08a" providerId="LiveId" clId="{BCAACB42-B97D-4620-8357-0C9205EAEA42}" dt="2023-02-21T09:56:43.254" v="25" actId="2084"/>
        <pc:sldMkLst>
          <pc:docMk/>
          <pc:sldMk cId="3856454999" sldId="2147473538"/>
        </pc:sldMkLst>
        <pc:graphicFrameChg chg="modGraphic">
          <ac:chgData name="Tường SKHĐT" userId="ab9568c39a88b08a" providerId="LiveId" clId="{BCAACB42-B97D-4620-8357-0C9205EAEA42}" dt="2023-02-21T09:56:43.254" v="25" actId="2084"/>
          <ac:graphicFrameMkLst>
            <pc:docMk/>
            <pc:sldMk cId="3856454999" sldId="2147473538"/>
            <ac:graphicFrameMk id="2" creationId="{EF0F5B71-CEC4-7AF5-CB0D-C7DDB9798892}"/>
          </ac:graphicFrameMkLst>
        </pc:graphicFrameChg>
      </pc:sldChg>
      <pc:sldChg chg="modSp mod">
        <pc:chgData name="Tường SKHĐT" userId="ab9568c39a88b08a" providerId="LiveId" clId="{BCAACB42-B97D-4620-8357-0C9205EAEA42}" dt="2023-02-21T09:56:31.203" v="23" actId="2084"/>
        <pc:sldMkLst>
          <pc:docMk/>
          <pc:sldMk cId="3229960194" sldId="2147473539"/>
        </pc:sldMkLst>
        <pc:graphicFrameChg chg="modGraphic">
          <ac:chgData name="Tường SKHĐT" userId="ab9568c39a88b08a" providerId="LiveId" clId="{BCAACB42-B97D-4620-8357-0C9205EAEA42}" dt="2023-02-21T09:56:31.203" v="23" actId="2084"/>
          <ac:graphicFrameMkLst>
            <pc:docMk/>
            <pc:sldMk cId="3229960194" sldId="2147473539"/>
            <ac:graphicFrameMk id="5" creationId="{94B078B5-CCF1-7EBE-C0A5-5F31DCB551BC}"/>
          </ac:graphicFrameMkLst>
        </pc:graphicFrameChg>
      </pc:sldChg>
      <pc:sldChg chg="modSp mod">
        <pc:chgData name="Tường SKHĐT" userId="ab9568c39a88b08a" providerId="LiveId" clId="{BCAACB42-B97D-4620-8357-0C9205EAEA42}" dt="2023-02-21T09:56:23.161" v="22" actId="2084"/>
        <pc:sldMkLst>
          <pc:docMk/>
          <pc:sldMk cId="3246394076" sldId="2147473540"/>
        </pc:sldMkLst>
        <pc:graphicFrameChg chg="modGraphic">
          <ac:chgData name="Tường SKHĐT" userId="ab9568c39a88b08a" providerId="LiveId" clId="{BCAACB42-B97D-4620-8357-0C9205EAEA42}" dt="2023-02-21T09:56:04.133" v="21" actId="207"/>
          <ac:graphicFrameMkLst>
            <pc:docMk/>
            <pc:sldMk cId="3246394076" sldId="2147473540"/>
            <ac:graphicFrameMk id="8" creationId="{B5E5335D-2EED-82AF-3A59-FAE8BB94EAE1}"/>
          </ac:graphicFrameMkLst>
        </pc:graphicFrameChg>
        <pc:graphicFrameChg chg="modGraphic">
          <ac:chgData name="Tường SKHĐT" userId="ab9568c39a88b08a" providerId="LiveId" clId="{BCAACB42-B97D-4620-8357-0C9205EAEA42}" dt="2023-02-21T09:56:23.161" v="22" actId="2084"/>
          <ac:graphicFrameMkLst>
            <pc:docMk/>
            <pc:sldMk cId="3246394076" sldId="2147473540"/>
            <ac:graphicFrameMk id="10" creationId="{8E7087F5-D658-8CDB-7D18-3EEA8C8807BD}"/>
          </ac:graphicFrameMkLst>
        </pc:graphicFrameChg>
      </pc:sldChg>
      <pc:sldChg chg="modSp mod">
        <pc:chgData name="Tường SKHĐT" userId="ab9568c39a88b08a" providerId="LiveId" clId="{BCAACB42-B97D-4620-8357-0C9205EAEA42}" dt="2023-02-21T09:56:37.158" v="24" actId="2084"/>
        <pc:sldMkLst>
          <pc:docMk/>
          <pc:sldMk cId="2298926727" sldId="2147473541"/>
        </pc:sldMkLst>
        <pc:graphicFrameChg chg="modGraphic">
          <ac:chgData name="Tường SKHĐT" userId="ab9568c39a88b08a" providerId="LiveId" clId="{BCAACB42-B97D-4620-8357-0C9205EAEA42}" dt="2023-02-21T09:56:37.158" v="24" actId="2084"/>
          <ac:graphicFrameMkLst>
            <pc:docMk/>
            <pc:sldMk cId="2298926727" sldId="2147473541"/>
            <ac:graphicFrameMk id="2" creationId="{26E5FE36-36E9-3652-2B4E-CA6779941E12}"/>
          </ac:graphicFrameMkLst>
        </pc:graphicFrameChg>
      </pc:sldChg>
      <pc:sldChg chg="modSp mod">
        <pc:chgData name="Tường SKHĐT" userId="ab9568c39a88b08a" providerId="LiveId" clId="{BCAACB42-B97D-4620-8357-0C9205EAEA42}" dt="2023-02-21T09:56:56.505" v="26" actId="2084"/>
        <pc:sldMkLst>
          <pc:docMk/>
          <pc:sldMk cId="1496065467" sldId="2147473542"/>
        </pc:sldMkLst>
        <pc:graphicFrameChg chg="modGraphic">
          <ac:chgData name="Tường SKHĐT" userId="ab9568c39a88b08a" providerId="LiveId" clId="{BCAACB42-B97D-4620-8357-0C9205EAEA42}" dt="2023-02-21T09:56:56.505" v="26" actId="2084"/>
          <ac:graphicFrameMkLst>
            <pc:docMk/>
            <pc:sldMk cId="1496065467" sldId="2147473542"/>
            <ac:graphicFrameMk id="2" creationId="{645F87BE-3D13-DDC2-CAB1-C8182D51AD30}"/>
          </ac:graphicFrameMkLst>
        </pc:graphicFrameChg>
      </pc:sldChg>
      <pc:sldChg chg="addSp delSp mod">
        <pc:chgData name="Tường SKHĐT" userId="ab9568c39a88b08a" providerId="LiveId" clId="{BCAACB42-B97D-4620-8357-0C9205EAEA42}" dt="2023-02-21T09:57:09.873" v="28" actId="21"/>
        <pc:sldMkLst>
          <pc:docMk/>
          <pc:sldMk cId="1893164686" sldId="2147473543"/>
        </pc:sldMkLst>
        <pc:picChg chg="add del">
          <ac:chgData name="Tường SKHĐT" userId="ab9568c39a88b08a" providerId="LiveId" clId="{BCAACB42-B97D-4620-8357-0C9205EAEA42}" dt="2023-02-21T09:57:09.873" v="28" actId="21"/>
          <ac:picMkLst>
            <pc:docMk/>
            <pc:sldMk cId="1893164686" sldId="2147473543"/>
            <ac:picMk id="6" creationId="{0D91BA1C-308B-0BF9-8A33-E2FF42C456DF}"/>
          </ac:picMkLst>
        </pc:picChg>
      </pc:sldChg>
      <pc:sldChg chg="modSp mod">
        <pc:chgData name="Tường SKHĐT" userId="ab9568c39a88b08a" providerId="LiveId" clId="{BCAACB42-B97D-4620-8357-0C9205EAEA42}" dt="2023-02-21T09:55:21.762" v="11" actId="20577"/>
        <pc:sldMkLst>
          <pc:docMk/>
          <pc:sldMk cId="3035689650" sldId="2147473547"/>
        </pc:sldMkLst>
        <pc:spChg chg="mod">
          <ac:chgData name="Tường SKHĐT" userId="ab9568c39a88b08a" providerId="LiveId" clId="{BCAACB42-B97D-4620-8357-0C9205EAEA42}" dt="2023-02-21T09:55:21.762" v="11" actId="20577"/>
          <ac:spMkLst>
            <pc:docMk/>
            <pc:sldMk cId="3035689650" sldId="2147473547"/>
            <ac:spMk id="4" creationId="{00000000-0000-0000-0000-000000000000}"/>
          </ac:spMkLst>
        </pc:spChg>
        <pc:graphicFrameChg chg="modGraphic">
          <ac:chgData name="Tường SKHĐT" userId="ab9568c39a88b08a" providerId="LiveId" clId="{BCAACB42-B97D-4620-8357-0C9205EAEA42}" dt="2023-02-21T09:55:19.519" v="9" actId="20577"/>
          <ac:graphicFrameMkLst>
            <pc:docMk/>
            <pc:sldMk cId="3035689650" sldId="2147473547"/>
            <ac:graphicFrameMk id="7" creationId="{44FD6820-12F5-8C73-583C-7D9F46E04367}"/>
          </ac:graphicFrameMkLst>
        </pc:graphicFrameChg>
      </pc:sldChg>
      <pc:sldMasterChg chg="delSldLayout">
        <pc:chgData name="Tường SKHĐT" userId="ab9568c39a88b08a" providerId="LiveId" clId="{BCAACB42-B97D-4620-8357-0C9205EAEA42}" dt="2023-02-21T09:57:19.790" v="29" actId="2696"/>
        <pc:sldMasterMkLst>
          <pc:docMk/>
          <pc:sldMasterMk cId="2420206097" sldId="2147483648"/>
        </pc:sldMasterMkLst>
        <pc:sldLayoutChg chg="del">
          <pc:chgData name="Tường SKHĐT" userId="ab9568c39a88b08a" providerId="LiveId" clId="{BCAACB42-B97D-4620-8357-0C9205EAEA42}" dt="2023-02-21T09:57:19.790" v="29" actId="2696"/>
          <pc:sldLayoutMkLst>
            <pc:docMk/>
            <pc:sldMasterMk cId="2420206097" sldId="2147483648"/>
            <pc:sldLayoutMk cId="443508434" sldId="2147483931"/>
          </pc:sldLayoutMkLst>
        </pc:sldLayoutChg>
      </pc:sldMasterChg>
    </pc:docChg>
  </pc:docChgLst>
  <pc:docChgLst>
    <pc:chgData name="Tường SKHĐT" userId="ab9568c39a88b08a" providerId="LiveId" clId="{4E2872E9-828F-4E1F-9E10-468015266221}"/>
    <pc:docChg chg="undo custSel addSld delSld modSld">
      <pc:chgData name="Tường SKHĐT" userId="ab9568c39a88b08a" providerId="LiveId" clId="{4E2872E9-828F-4E1F-9E10-468015266221}" dt="2023-05-05T09:56:27.931" v="1893" actId="2696"/>
      <pc:docMkLst>
        <pc:docMk/>
      </pc:docMkLst>
      <pc:sldChg chg="modSp add mod modTransition">
        <pc:chgData name="Tường SKHĐT" userId="ab9568c39a88b08a" providerId="LiveId" clId="{4E2872E9-828F-4E1F-9E10-468015266221}" dt="2023-05-04T00:32:48.735" v="141" actId="207"/>
        <pc:sldMkLst>
          <pc:docMk/>
          <pc:sldMk cId="1485166275" sldId="290"/>
        </pc:sldMkLst>
        <pc:spChg chg="mod">
          <ac:chgData name="Tường SKHĐT" userId="ab9568c39a88b08a" providerId="LiveId" clId="{4E2872E9-828F-4E1F-9E10-468015266221}" dt="2023-05-04T00:32:48.735" v="141" actId="207"/>
          <ac:spMkLst>
            <pc:docMk/>
            <pc:sldMk cId="1485166275" sldId="290"/>
            <ac:spMk id="3" creationId="{00000000-0000-0000-0000-000000000000}"/>
          </ac:spMkLst>
        </pc:spChg>
        <pc:spChg chg="mod">
          <ac:chgData name="Tường SKHĐT" userId="ab9568c39a88b08a" providerId="LiveId" clId="{4E2872E9-828F-4E1F-9E10-468015266221}" dt="2023-05-04T00:31:08.792" v="131" actId="12"/>
          <ac:spMkLst>
            <pc:docMk/>
            <pc:sldMk cId="1485166275" sldId="290"/>
            <ac:spMk id="5" creationId="{8105B003-DEFD-4DF8-9500-4D9396C3DACA}"/>
          </ac:spMkLst>
        </pc:spChg>
      </pc:sldChg>
      <pc:sldChg chg="modSp add mod modTransition">
        <pc:chgData name="Tường SKHĐT" userId="ab9568c39a88b08a" providerId="LiveId" clId="{4E2872E9-828F-4E1F-9E10-468015266221}" dt="2023-05-04T00:32:31.096" v="139" actId="6549"/>
        <pc:sldMkLst>
          <pc:docMk/>
          <pc:sldMk cId="2216679938" sldId="291"/>
        </pc:sldMkLst>
        <pc:spChg chg="mod">
          <ac:chgData name="Tường SKHĐT" userId="ab9568c39a88b08a" providerId="LiveId" clId="{4E2872E9-828F-4E1F-9E10-468015266221}" dt="2023-05-04T00:31:46.466" v="133" actId="207"/>
          <ac:spMkLst>
            <pc:docMk/>
            <pc:sldMk cId="2216679938" sldId="291"/>
            <ac:spMk id="3" creationId="{00000000-0000-0000-0000-000000000000}"/>
          </ac:spMkLst>
        </pc:spChg>
        <pc:spChg chg="mod">
          <ac:chgData name="Tường SKHĐT" userId="ab9568c39a88b08a" providerId="LiveId" clId="{4E2872E9-828F-4E1F-9E10-468015266221}" dt="2023-05-04T00:30:41.002" v="129" actId="20577"/>
          <ac:spMkLst>
            <pc:docMk/>
            <pc:sldMk cId="2216679938" sldId="291"/>
            <ac:spMk id="4" creationId="{8105B003-DEFD-4DF8-9500-4D9396C3DACA}"/>
          </ac:spMkLst>
        </pc:spChg>
        <pc:spChg chg="mod">
          <ac:chgData name="Tường SKHĐT" userId="ab9568c39a88b08a" providerId="LiveId" clId="{4E2872E9-828F-4E1F-9E10-468015266221}" dt="2023-05-04T00:31:59.356" v="135" actId="207"/>
          <ac:spMkLst>
            <pc:docMk/>
            <pc:sldMk cId="2216679938" sldId="291"/>
            <ac:spMk id="7" creationId="{00000000-0000-0000-0000-000000000000}"/>
          </ac:spMkLst>
        </pc:spChg>
        <pc:spChg chg="mod">
          <ac:chgData name="Tường SKHĐT" userId="ab9568c39a88b08a" providerId="LiveId" clId="{4E2872E9-828F-4E1F-9E10-468015266221}" dt="2023-05-04T00:32:24.344" v="138" actId="207"/>
          <ac:spMkLst>
            <pc:docMk/>
            <pc:sldMk cId="2216679938" sldId="291"/>
            <ac:spMk id="8" creationId="{00000000-0000-0000-0000-000000000000}"/>
          </ac:spMkLst>
        </pc:spChg>
        <pc:spChg chg="mod">
          <ac:chgData name="Tường SKHĐT" userId="ab9568c39a88b08a" providerId="LiveId" clId="{4E2872E9-828F-4E1F-9E10-468015266221}" dt="2023-05-04T00:32:12.840" v="136" actId="207"/>
          <ac:spMkLst>
            <pc:docMk/>
            <pc:sldMk cId="2216679938" sldId="291"/>
            <ac:spMk id="9" creationId="{00000000-0000-0000-0000-000000000000}"/>
          </ac:spMkLst>
        </pc:spChg>
        <pc:graphicFrameChg chg="modGraphic">
          <ac:chgData name="Tường SKHĐT" userId="ab9568c39a88b08a" providerId="LiveId" clId="{4E2872E9-828F-4E1F-9E10-468015266221}" dt="2023-05-04T00:32:31.096" v="139" actId="6549"/>
          <ac:graphicFrameMkLst>
            <pc:docMk/>
            <pc:sldMk cId="2216679938" sldId="291"/>
            <ac:graphicFrameMk id="2" creationId="{00000000-0000-0000-0000-000000000000}"/>
          </ac:graphicFrameMkLst>
        </pc:graphicFrameChg>
      </pc:sldChg>
      <pc:sldChg chg="modSp">
        <pc:chgData name="Tường SKHĐT" userId="ab9568c39a88b08a" providerId="LiveId" clId="{4E2872E9-828F-4E1F-9E10-468015266221}" dt="2023-05-04T00:37:00.986" v="706"/>
        <pc:sldMkLst>
          <pc:docMk/>
          <pc:sldMk cId="3133831680" sldId="2147473476"/>
        </pc:sldMkLst>
        <pc:graphicFrameChg chg="mod">
          <ac:chgData name="Tường SKHĐT" userId="ab9568c39a88b08a" providerId="LiveId" clId="{4E2872E9-828F-4E1F-9E10-468015266221}" dt="2023-05-04T00:37:00.986" v="706"/>
          <ac:graphicFrameMkLst>
            <pc:docMk/>
            <pc:sldMk cId="3133831680" sldId="2147473476"/>
            <ac:graphicFrameMk id="2" creationId="{A091C242-D65F-E0C5-16D6-B15756DA14A6}"/>
          </ac:graphicFrameMkLst>
        </pc:graphicFrameChg>
      </pc:sldChg>
      <pc:sldChg chg="del">
        <pc:chgData name="Tường SKHĐT" userId="ab9568c39a88b08a" providerId="LiveId" clId="{4E2872E9-828F-4E1F-9E10-468015266221}" dt="2023-05-04T01:56:43.936" v="1339" actId="2696"/>
        <pc:sldMkLst>
          <pc:docMk/>
          <pc:sldMk cId="4092993056" sldId="2147473513"/>
        </pc:sldMkLst>
      </pc:sldChg>
      <pc:sldChg chg="modSp mod">
        <pc:chgData name="Tường SKHĐT" userId="ab9568c39a88b08a" providerId="LiveId" clId="{4E2872E9-828F-4E1F-9E10-468015266221}" dt="2023-05-05T09:36:22.824" v="1832" actId="20577"/>
        <pc:sldMkLst>
          <pc:docMk/>
          <pc:sldMk cId="2957479116" sldId="2147473519"/>
        </pc:sldMkLst>
        <pc:graphicFrameChg chg="modGraphic">
          <ac:chgData name="Tường SKHĐT" userId="ab9568c39a88b08a" providerId="LiveId" clId="{4E2872E9-828F-4E1F-9E10-468015266221}" dt="2023-05-05T09:36:22.824" v="1832" actId="20577"/>
          <ac:graphicFrameMkLst>
            <pc:docMk/>
            <pc:sldMk cId="2957479116" sldId="2147473519"/>
            <ac:graphicFrameMk id="8" creationId="{B5E5335D-2EED-82AF-3A59-FAE8BB94EAE1}"/>
          </ac:graphicFrameMkLst>
        </pc:graphicFrameChg>
      </pc:sldChg>
      <pc:sldChg chg="modSp mod">
        <pc:chgData name="Tường SKHĐT" userId="ab9568c39a88b08a" providerId="LiveId" clId="{4E2872E9-828F-4E1F-9E10-468015266221}" dt="2023-05-04T02:01:43.530" v="1418" actId="20577"/>
        <pc:sldMkLst>
          <pc:docMk/>
          <pc:sldMk cId="2307671257" sldId="2147473521"/>
        </pc:sldMkLst>
        <pc:spChg chg="mod">
          <ac:chgData name="Tường SKHĐT" userId="ab9568c39a88b08a" providerId="LiveId" clId="{4E2872E9-828F-4E1F-9E10-468015266221}" dt="2023-05-04T02:01:43.530" v="1418" actId="20577"/>
          <ac:spMkLst>
            <pc:docMk/>
            <pc:sldMk cId="2307671257" sldId="2147473521"/>
            <ac:spMk id="25" creationId="{01DC26C3-E6F4-C27A-8624-3A65D81B6008}"/>
          </ac:spMkLst>
        </pc:spChg>
      </pc:sldChg>
      <pc:sldChg chg="modSp mod">
        <pc:chgData name="Tường SKHĐT" userId="ab9568c39a88b08a" providerId="LiveId" clId="{4E2872E9-828F-4E1F-9E10-468015266221}" dt="2023-05-05T09:12:13.793" v="1757" actId="20577"/>
        <pc:sldMkLst>
          <pc:docMk/>
          <pc:sldMk cId="2802465441" sldId="2147473522"/>
        </pc:sldMkLst>
        <pc:spChg chg="mod">
          <ac:chgData name="Tường SKHĐT" userId="ab9568c39a88b08a" providerId="LiveId" clId="{4E2872E9-828F-4E1F-9E10-468015266221}" dt="2023-05-04T02:01:46.304" v="1420" actId="20577"/>
          <ac:spMkLst>
            <pc:docMk/>
            <pc:sldMk cId="2802465441" sldId="2147473522"/>
            <ac:spMk id="25" creationId="{01DC26C3-E6F4-C27A-8624-3A65D81B6008}"/>
          </ac:spMkLst>
        </pc:spChg>
        <pc:graphicFrameChg chg="mod modGraphic">
          <ac:chgData name="Tường SKHĐT" userId="ab9568c39a88b08a" providerId="LiveId" clId="{4E2872E9-828F-4E1F-9E10-468015266221}" dt="2023-05-05T09:12:13.793" v="1757" actId="20577"/>
          <ac:graphicFrameMkLst>
            <pc:docMk/>
            <pc:sldMk cId="2802465441" sldId="2147473522"/>
            <ac:graphicFrameMk id="9" creationId="{0FC7DBA8-03B5-1D5D-B7A1-68AA6F62DF7E}"/>
          </ac:graphicFrameMkLst>
        </pc:graphicFrameChg>
      </pc:sldChg>
      <pc:sldChg chg="del">
        <pc:chgData name="Tường SKHĐT" userId="ab9568c39a88b08a" providerId="LiveId" clId="{4E2872E9-828F-4E1F-9E10-468015266221}" dt="2023-05-04T01:41:49.553" v="1325" actId="2696"/>
        <pc:sldMkLst>
          <pc:docMk/>
          <pc:sldMk cId="1893164686" sldId="2147473543"/>
        </pc:sldMkLst>
      </pc:sldChg>
      <pc:sldChg chg="del">
        <pc:chgData name="Tường SKHĐT" userId="ab9568c39a88b08a" providerId="LiveId" clId="{4E2872E9-828F-4E1F-9E10-468015266221}" dt="2023-05-04T01:55:10.639" v="1332" actId="2696"/>
        <pc:sldMkLst>
          <pc:docMk/>
          <pc:sldMk cId="3035689650" sldId="2147473547"/>
        </pc:sldMkLst>
      </pc:sldChg>
      <pc:sldChg chg="addSp delSp modSp mod">
        <pc:chgData name="Tường SKHĐT" userId="ab9568c39a88b08a" providerId="LiveId" clId="{4E2872E9-828F-4E1F-9E10-468015266221}" dt="2023-05-05T09:04:29.397" v="1750" actId="20577"/>
        <pc:sldMkLst>
          <pc:docMk/>
          <pc:sldMk cId="1783682046" sldId="2147473574"/>
        </pc:sldMkLst>
        <pc:graphicFrameChg chg="mod modGraphic">
          <ac:chgData name="Tường SKHĐT" userId="ab9568c39a88b08a" providerId="LiveId" clId="{4E2872E9-828F-4E1F-9E10-468015266221}" dt="2023-05-05T09:04:29.397" v="1750" actId="20577"/>
          <ac:graphicFrameMkLst>
            <pc:docMk/>
            <pc:sldMk cId="1783682046" sldId="2147473574"/>
            <ac:graphicFrameMk id="8" creationId="{B5E5335D-2EED-82AF-3A59-FAE8BB94EAE1}"/>
          </ac:graphicFrameMkLst>
        </pc:graphicFrameChg>
        <pc:picChg chg="add del mod">
          <ac:chgData name="Tường SKHĐT" userId="ab9568c39a88b08a" providerId="LiveId" clId="{4E2872E9-828F-4E1F-9E10-468015266221}" dt="2023-05-04T00:47:45.252" v="1008"/>
          <ac:picMkLst>
            <pc:docMk/>
            <pc:sldMk cId="1783682046" sldId="2147473574"/>
            <ac:picMk id="2" creationId="{297E5065-AB86-0FDC-9A8C-288311487F55}"/>
          </ac:picMkLst>
        </pc:picChg>
        <pc:picChg chg="del">
          <ac:chgData name="Tường SKHĐT" userId="ab9568c39a88b08a" providerId="LiveId" clId="{4E2872E9-828F-4E1F-9E10-468015266221}" dt="2023-05-04T00:47:43.146" v="1006" actId="21"/>
          <ac:picMkLst>
            <pc:docMk/>
            <pc:sldMk cId="1783682046" sldId="2147473574"/>
            <ac:picMk id="5" creationId="{A3137C45-8C15-1EFE-826B-99FC6F8CE52D}"/>
          </ac:picMkLst>
        </pc:picChg>
        <pc:picChg chg="add mod">
          <ac:chgData name="Tường SKHĐT" userId="ab9568c39a88b08a" providerId="LiveId" clId="{4E2872E9-828F-4E1F-9E10-468015266221}" dt="2023-05-04T00:49:23.319" v="1044" actId="14100"/>
          <ac:picMkLst>
            <pc:docMk/>
            <pc:sldMk cId="1783682046" sldId="2147473574"/>
            <ac:picMk id="7" creationId="{D950AC00-2D36-8436-B3E5-8F968D870802}"/>
          </ac:picMkLst>
        </pc:picChg>
        <pc:picChg chg="del">
          <ac:chgData name="Tường SKHĐT" userId="ab9568c39a88b08a" providerId="LiveId" clId="{4E2872E9-828F-4E1F-9E10-468015266221}" dt="2023-05-04T00:48:11.873" v="1030" actId="21"/>
          <ac:picMkLst>
            <pc:docMk/>
            <pc:sldMk cId="1783682046" sldId="2147473574"/>
            <ac:picMk id="9" creationId="{812C70B2-E296-1A3A-3ED3-142732768352}"/>
          </ac:picMkLst>
        </pc:picChg>
        <pc:picChg chg="del">
          <ac:chgData name="Tường SKHĐT" userId="ab9568c39a88b08a" providerId="LiveId" clId="{4E2872E9-828F-4E1F-9E10-468015266221}" dt="2023-05-04T00:43:38.937" v="880" actId="21"/>
          <ac:picMkLst>
            <pc:docMk/>
            <pc:sldMk cId="1783682046" sldId="2147473574"/>
            <ac:picMk id="11" creationId="{52E1C36C-0AFE-D81A-CF7D-27AE89FB4FB8}"/>
          </ac:picMkLst>
        </pc:picChg>
        <pc:picChg chg="add del mod">
          <ac:chgData name="Tường SKHĐT" userId="ab9568c39a88b08a" providerId="LiveId" clId="{4E2872E9-828F-4E1F-9E10-468015266221}" dt="2023-05-04T00:52:02.807" v="1166" actId="21"/>
          <ac:picMkLst>
            <pc:docMk/>
            <pc:sldMk cId="1783682046" sldId="2147473574"/>
            <ac:picMk id="12" creationId="{31F55BE2-B583-8A3B-6246-96725BA06D8B}"/>
          </ac:picMkLst>
        </pc:picChg>
        <pc:picChg chg="add mod">
          <ac:chgData name="Tường SKHĐT" userId="ab9568c39a88b08a" providerId="LiveId" clId="{4E2872E9-828F-4E1F-9E10-468015266221}" dt="2023-05-04T00:53:45.688" v="1179" actId="14100"/>
          <ac:picMkLst>
            <pc:docMk/>
            <pc:sldMk cId="1783682046" sldId="2147473574"/>
            <ac:picMk id="14" creationId="{590A3D13-B1C7-D1CF-5F2E-1F4ED31084F4}"/>
          </ac:picMkLst>
        </pc:picChg>
      </pc:sldChg>
      <pc:sldChg chg="modSp mod">
        <pc:chgData name="Tường SKHĐT" userId="ab9568c39a88b08a" providerId="LiveId" clId="{4E2872E9-828F-4E1F-9E10-468015266221}" dt="2023-05-04T01:57:20.630" v="1340" actId="404"/>
        <pc:sldMkLst>
          <pc:docMk/>
          <pc:sldMk cId="924787942" sldId="2147473575"/>
        </pc:sldMkLst>
        <pc:graphicFrameChg chg="modGraphic">
          <ac:chgData name="Tường SKHĐT" userId="ab9568c39a88b08a" providerId="LiveId" clId="{4E2872E9-828F-4E1F-9E10-468015266221}" dt="2023-05-04T01:57:20.630" v="1340" actId="404"/>
          <ac:graphicFrameMkLst>
            <pc:docMk/>
            <pc:sldMk cId="924787942" sldId="2147473575"/>
            <ac:graphicFrameMk id="8" creationId="{B5E5335D-2EED-82AF-3A59-FAE8BB94EAE1}"/>
          </ac:graphicFrameMkLst>
        </pc:graphicFrameChg>
      </pc:sldChg>
      <pc:sldChg chg="modSp add mod">
        <pc:chgData name="Tường SKHĐT" userId="ab9568c39a88b08a" providerId="LiveId" clId="{4E2872E9-828F-4E1F-9E10-468015266221}" dt="2023-05-05T09:36:30.535" v="1834" actId="20577"/>
        <pc:sldMkLst>
          <pc:docMk/>
          <pc:sldMk cId="1174761856" sldId="2147473632"/>
        </pc:sldMkLst>
        <pc:spChg chg="mod">
          <ac:chgData name="Tường SKHĐT" userId="ab9568c39a88b08a" providerId="LiveId" clId="{4E2872E9-828F-4E1F-9E10-468015266221}" dt="2023-05-05T09:36:30.535" v="1834" actId="20577"/>
          <ac:spMkLst>
            <pc:docMk/>
            <pc:sldMk cId="1174761856" sldId="2147473632"/>
            <ac:spMk id="25" creationId="{01DC26C3-E6F4-C27A-8624-3A65D81B6008}"/>
          </ac:spMkLst>
        </pc:spChg>
      </pc:sldChg>
      <pc:sldChg chg="modSp mod">
        <pc:chgData name="Tường SKHĐT" userId="ab9568c39a88b08a" providerId="LiveId" clId="{4E2872E9-828F-4E1F-9E10-468015266221}" dt="2023-05-04T00:29:27.907" v="122" actId="20577"/>
        <pc:sldMkLst>
          <pc:docMk/>
          <pc:sldMk cId="2211563581" sldId="2147473695"/>
        </pc:sldMkLst>
        <pc:spChg chg="mod">
          <ac:chgData name="Tường SKHĐT" userId="ab9568c39a88b08a" providerId="LiveId" clId="{4E2872E9-828F-4E1F-9E10-468015266221}" dt="2023-05-04T00:27:53.579" v="76" actId="20577"/>
          <ac:spMkLst>
            <pc:docMk/>
            <pc:sldMk cId="2211563581" sldId="2147473695"/>
            <ac:spMk id="3" creationId="{A0D5D58A-756E-802D-A09E-1BEA6D184E77}"/>
          </ac:spMkLst>
        </pc:spChg>
        <pc:spChg chg="mod">
          <ac:chgData name="Tường SKHĐT" userId="ab9568c39a88b08a" providerId="LiveId" clId="{4E2872E9-828F-4E1F-9E10-468015266221}" dt="2023-05-04T00:29:27.907" v="122" actId="20577"/>
          <ac:spMkLst>
            <pc:docMk/>
            <pc:sldMk cId="2211563581" sldId="2147473695"/>
            <ac:spMk id="6" creationId="{81B6DC98-C123-5771-E46D-17ED3EE03739}"/>
          </ac:spMkLst>
        </pc:spChg>
        <pc:spChg chg="mod">
          <ac:chgData name="Tường SKHĐT" userId="ab9568c39a88b08a" providerId="LiveId" clId="{4E2872E9-828F-4E1F-9E10-468015266221}" dt="2023-05-04T00:28:34.140" v="102" actId="20577"/>
          <ac:spMkLst>
            <pc:docMk/>
            <pc:sldMk cId="2211563581" sldId="2147473695"/>
            <ac:spMk id="720" creationId="{00000000-0000-0000-0000-000000000000}"/>
          </ac:spMkLst>
        </pc:spChg>
        <pc:spChg chg="mod">
          <ac:chgData name="Tường SKHĐT" userId="ab9568c39a88b08a" providerId="LiveId" clId="{4E2872E9-828F-4E1F-9E10-468015266221}" dt="2023-05-04T00:28:56.620" v="118" actId="20577"/>
          <ac:spMkLst>
            <pc:docMk/>
            <pc:sldMk cId="2211563581" sldId="2147473695"/>
            <ac:spMk id="726" creationId="{00000000-0000-0000-0000-000000000000}"/>
          </ac:spMkLst>
        </pc:spChg>
      </pc:sldChg>
      <pc:sldChg chg="modSp mod">
        <pc:chgData name="Tường SKHĐT" userId="ab9568c39a88b08a" providerId="LiveId" clId="{4E2872E9-828F-4E1F-9E10-468015266221}" dt="2023-05-04T01:58:02.684" v="1343" actId="404"/>
        <pc:sldMkLst>
          <pc:docMk/>
          <pc:sldMk cId="1117321248" sldId="2147473696"/>
        </pc:sldMkLst>
        <pc:graphicFrameChg chg="modGraphic">
          <ac:chgData name="Tường SKHĐT" userId="ab9568c39a88b08a" providerId="LiveId" clId="{4E2872E9-828F-4E1F-9E10-468015266221}" dt="2023-05-04T01:58:02.684" v="1343" actId="404"/>
          <ac:graphicFrameMkLst>
            <pc:docMk/>
            <pc:sldMk cId="1117321248" sldId="2147473696"/>
            <ac:graphicFrameMk id="8" creationId="{B5E5335D-2EED-82AF-3A59-FAE8BB94EAE1}"/>
          </ac:graphicFrameMkLst>
        </pc:graphicFrameChg>
      </pc:sldChg>
      <pc:sldChg chg="del">
        <pc:chgData name="Tường SKHĐT" userId="ab9568c39a88b08a" providerId="LiveId" clId="{4E2872E9-828F-4E1F-9E10-468015266221}" dt="2023-05-05T09:30:36.918" v="1779" actId="2696"/>
        <pc:sldMkLst>
          <pc:docMk/>
          <pc:sldMk cId="4060036236" sldId="2147473698"/>
        </pc:sldMkLst>
      </pc:sldChg>
      <pc:sldChg chg="del">
        <pc:chgData name="Tường SKHĐT" userId="ab9568c39a88b08a" providerId="LiveId" clId="{4E2872E9-828F-4E1F-9E10-468015266221}" dt="2023-05-05T09:31:14.122" v="1781" actId="2696"/>
        <pc:sldMkLst>
          <pc:docMk/>
          <pc:sldMk cId="1648091061" sldId="2147473699"/>
        </pc:sldMkLst>
      </pc:sldChg>
      <pc:sldChg chg="modSp del mod">
        <pc:chgData name="Tường SKHĐT" userId="ab9568c39a88b08a" providerId="LiveId" clId="{4E2872E9-828F-4E1F-9E10-468015266221}" dt="2023-05-05T09:31:16.029" v="1782" actId="2696"/>
        <pc:sldMkLst>
          <pc:docMk/>
          <pc:sldMk cId="3712756391" sldId="2147473700"/>
        </pc:sldMkLst>
        <pc:spChg chg="mod">
          <ac:chgData name="Tường SKHĐT" userId="ab9568c39a88b08a" providerId="LiveId" clId="{4E2872E9-828F-4E1F-9E10-468015266221}" dt="2023-05-04T00:26:40.776" v="64" actId="14100"/>
          <ac:spMkLst>
            <pc:docMk/>
            <pc:sldMk cId="3712756391" sldId="2147473700"/>
            <ac:spMk id="25" creationId="{01DC26C3-E6F4-C27A-8624-3A65D81B6008}"/>
          </ac:spMkLst>
        </pc:spChg>
      </pc:sldChg>
      <pc:sldChg chg="del">
        <pc:chgData name="Tường SKHĐT" userId="ab9568c39a88b08a" providerId="LiveId" clId="{4E2872E9-828F-4E1F-9E10-468015266221}" dt="2023-05-05T09:30:56.693" v="1780" actId="2696"/>
        <pc:sldMkLst>
          <pc:docMk/>
          <pc:sldMk cId="938056075" sldId="2147473701"/>
        </pc:sldMkLst>
      </pc:sldChg>
      <pc:sldChg chg="modSp mod">
        <pc:chgData name="Tường SKHĐT" userId="ab9568c39a88b08a" providerId="LiveId" clId="{4E2872E9-828F-4E1F-9E10-468015266221}" dt="2023-05-04T02:01:51.147" v="1423" actId="20577"/>
        <pc:sldMkLst>
          <pc:docMk/>
          <pc:sldMk cId="1379701318" sldId="2147473703"/>
        </pc:sldMkLst>
        <pc:spChg chg="mod">
          <ac:chgData name="Tường SKHĐT" userId="ab9568c39a88b08a" providerId="LiveId" clId="{4E2872E9-828F-4E1F-9E10-468015266221}" dt="2023-05-04T02:01:51.147" v="1423" actId="20577"/>
          <ac:spMkLst>
            <pc:docMk/>
            <pc:sldMk cId="1379701318" sldId="2147473703"/>
            <ac:spMk id="25" creationId="{01DC26C3-E6F4-C27A-8624-3A65D81B6008}"/>
          </ac:spMkLst>
        </pc:spChg>
      </pc:sldChg>
      <pc:sldChg chg="delSp modSp add mod">
        <pc:chgData name="Tường SKHĐT" userId="ab9568c39a88b08a" providerId="LiveId" clId="{4E2872E9-828F-4E1F-9E10-468015266221}" dt="2023-05-04T01:41:36.007" v="1324" actId="14100"/>
        <pc:sldMkLst>
          <pc:docMk/>
          <pc:sldMk cId="1811701144" sldId="2147473705"/>
        </pc:sldMkLst>
        <pc:graphicFrameChg chg="mod">
          <ac:chgData name="Tường SKHĐT" userId="ab9568c39a88b08a" providerId="LiveId" clId="{4E2872E9-828F-4E1F-9E10-468015266221}" dt="2023-05-04T01:41:36.007" v="1324" actId="14100"/>
          <ac:graphicFrameMkLst>
            <pc:docMk/>
            <pc:sldMk cId="1811701144" sldId="2147473705"/>
            <ac:graphicFrameMk id="2" creationId="{E7518374-D7F7-E604-1E8E-A766F8E4CC84}"/>
          </ac:graphicFrameMkLst>
        </pc:graphicFrameChg>
        <pc:graphicFrameChg chg="del">
          <ac:chgData name="Tường SKHĐT" userId="ab9568c39a88b08a" providerId="LiveId" clId="{4E2872E9-828F-4E1F-9E10-468015266221}" dt="2023-05-04T01:40:58.719" v="1318" actId="21"/>
          <ac:graphicFrameMkLst>
            <pc:docMk/>
            <pc:sldMk cId="1811701144" sldId="2147473705"/>
            <ac:graphicFrameMk id="3" creationId="{00000000-0000-0000-0000-000000000000}"/>
          </ac:graphicFrameMkLst>
        </pc:graphicFrameChg>
      </pc:sldChg>
      <pc:sldChg chg="delSp modSp add mod">
        <pc:chgData name="Tường SKHĐT" userId="ab9568c39a88b08a" providerId="LiveId" clId="{4E2872E9-828F-4E1F-9E10-468015266221}" dt="2023-05-04T01:54:56.785" v="1331" actId="1076"/>
        <pc:sldMkLst>
          <pc:docMk/>
          <pc:sldMk cId="3385145612" sldId="2147473706"/>
        </pc:sldMkLst>
        <pc:graphicFrameChg chg="del">
          <ac:chgData name="Tường SKHĐT" userId="ab9568c39a88b08a" providerId="LiveId" clId="{4E2872E9-828F-4E1F-9E10-468015266221}" dt="2023-05-04T01:54:16.036" v="1327" actId="21"/>
          <ac:graphicFrameMkLst>
            <pc:docMk/>
            <pc:sldMk cId="3385145612" sldId="2147473706"/>
            <ac:graphicFrameMk id="2" creationId="{00000000-0000-0000-0000-000000000000}"/>
          </ac:graphicFrameMkLst>
        </pc:graphicFrameChg>
        <pc:graphicFrameChg chg="mod">
          <ac:chgData name="Tường SKHĐT" userId="ab9568c39a88b08a" providerId="LiveId" clId="{4E2872E9-828F-4E1F-9E10-468015266221}" dt="2023-05-04T01:54:56.785" v="1331" actId="1076"/>
          <ac:graphicFrameMkLst>
            <pc:docMk/>
            <pc:sldMk cId="3385145612" sldId="2147473706"/>
            <ac:graphicFrameMk id="3" creationId="{EB9A6A82-A5B9-30AE-E4CA-0D28BD5C3C94}"/>
          </ac:graphicFrameMkLst>
        </pc:graphicFrameChg>
      </pc:sldChg>
      <pc:sldChg chg="delSp modSp add mod">
        <pc:chgData name="Tường SKHĐT" userId="ab9568c39a88b08a" providerId="LiveId" clId="{4E2872E9-828F-4E1F-9E10-468015266221}" dt="2023-05-05T09:09:19.472" v="1751"/>
        <pc:sldMkLst>
          <pc:docMk/>
          <pc:sldMk cId="2887103270" sldId="2147473707"/>
        </pc:sldMkLst>
        <pc:graphicFrameChg chg="mod">
          <ac:chgData name="Tường SKHĐT" userId="ab9568c39a88b08a" providerId="LiveId" clId="{4E2872E9-828F-4E1F-9E10-468015266221}" dt="2023-05-05T09:09:19.472" v="1751"/>
          <ac:graphicFrameMkLst>
            <pc:docMk/>
            <pc:sldMk cId="2887103270" sldId="2147473707"/>
            <ac:graphicFrameMk id="2" creationId="{7FA18B5F-FE0E-75E9-4A67-FD2049B75C1B}"/>
          </ac:graphicFrameMkLst>
        </pc:graphicFrameChg>
        <pc:graphicFrameChg chg="del">
          <ac:chgData name="Tường SKHĐT" userId="ab9568c39a88b08a" providerId="LiveId" clId="{4E2872E9-828F-4E1F-9E10-468015266221}" dt="2023-05-04T01:56:21.227" v="1334" actId="21"/>
          <ac:graphicFrameMkLst>
            <pc:docMk/>
            <pc:sldMk cId="2887103270" sldId="2147473707"/>
            <ac:graphicFrameMk id="3" creationId="{00000000-0000-0000-0000-000000000000}"/>
          </ac:graphicFrameMkLst>
        </pc:graphicFrameChg>
      </pc:sldChg>
      <pc:sldChg chg="modSp add del mod">
        <pc:chgData name="Tường SKHĐT" userId="ab9568c39a88b08a" providerId="LiveId" clId="{4E2872E9-828F-4E1F-9E10-468015266221}" dt="2023-05-04T02:01:49.133" v="1421" actId="2696"/>
        <pc:sldMkLst>
          <pc:docMk/>
          <pc:sldMk cId="326571048" sldId="2147473708"/>
        </pc:sldMkLst>
        <pc:spChg chg="mod">
          <ac:chgData name="Tường SKHĐT" userId="ab9568c39a88b08a" providerId="LiveId" clId="{4E2872E9-828F-4E1F-9E10-468015266221}" dt="2023-05-04T02:01:11.060" v="1354" actId="20577"/>
          <ac:spMkLst>
            <pc:docMk/>
            <pc:sldMk cId="326571048" sldId="2147473708"/>
            <ac:spMk id="25" creationId="{01DC26C3-E6F4-C27A-8624-3A65D81B6008}"/>
          </ac:spMkLst>
        </pc:spChg>
      </pc:sldChg>
      <pc:sldChg chg="addSp delSp modSp add mod">
        <pc:chgData name="Tường SKHĐT" userId="ab9568c39a88b08a" providerId="LiveId" clId="{4E2872E9-828F-4E1F-9E10-468015266221}" dt="2023-05-04T02:11:02.020" v="1564" actId="20577"/>
        <pc:sldMkLst>
          <pc:docMk/>
          <pc:sldMk cId="3918079085" sldId="2147473709"/>
        </pc:sldMkLst>
        <pc:spChg chg="mod">
          <ac:chgData name="Tường SKHĐT" userId="ab9568c39a88b08a" providerId="LiveId" clId="{4E2872E9-828F-4E1F-9E10-468015266221}" dt="2023-05-04T02:01:40.538" v="1416" actId="20577"/>
          <ac:spMkLst>
            <pc:docMk/>
            <pc:sldMk cId="3918079085" sldId="2147473709"/>
            <ac:spMk id="25" creationId="{01DC26C3-E6F4-C27A-8624-3A65D81B6008}"/>
          </ac:spMkLst>
        </pc:spChg>
        <pc:graphicFrameChg chg="add del mod">
          <ac:chgData name="Tường SKHĐT" userId="ab9568c39a88b08a" providerId="LiveId" clId="{4E2872E9-828F-4E1F-9E10-468015266221}" dt="2023-05-04T02:02:12.625" v="1426"/>
          <ac:graphicFrameMkLst>
            <pc:docMk/>
            <pc:sldMk cId="3918079085" sldId="2147473709"/>
            <ac:graphicFrameMk id="2" creationId="{C3F0F26F-4981-AF8F-E538-FAA84CDBA843}"/>
          </ac:graphicFrameMkLst>
        </pc:graphicFrameChg>
        <pc:graphicFrameChg chg="add mod modGraphic">
          <ac:chgData name="Tường SKHĐT" userId="ab9568c39a88b08a" providerId="LiveId" clId="{4E2872E9-828F-4E1F-9E10-468015266221}" dt="2023-05-04T02:11:02.020" v="1564" actId="20577"/>
          <ac:graphicFrameMkLst>
            <pc:docMk/>
            <pc:sldMk cId="3918079085" sldId="2147473709"/>
            <ac:graphicFrameMk id="3" creationId="{82C4588D-3749-0059-55C6-FBEDB09E480D}"/>
          </ac:graphicFrameMkLst>
        </pc:graphicFrameChg>
        <pc:graphicFrameChg chg="mod modGraphic">
          <ac:chgData name="Tường SKHĐT" userId="ab9568c39a88b08a" providerId="LiveId" clId="{4E2872E9-828F-4E1F-9E10-468015266221}" dt="2023-05-04T02:09:14.628" v="1540" actId="14734"/>
          <ac:graphicFrameMkLst>
            <pc:docMk/>
            <pc:sldMk cId="3918079085" sldId="2147473709"/>
            <ac:graphicFrameMk id="5" creationId="{D4733397-8FF2-80FF-D00F-621F860BECF6}"/>
          </ac:graphicFrameMkLst>
        </pc:graphicFrameChg>
        <pc:graphicFrameChg chg="del">
          <ac:chgData name="Tường SKHĐT" userId="ab9568c39a88b08a" providerId="LiveId" clId="{4E2872E9-828F-4E1F-9E10-468015266221}" dt="2023-05-04T02:02:08.204" v="1424" actId="21"/>
          <ac:graphicFrameMkLst>
            <pc:docMk/>
            <pc:sldMk cId="3918079085" sldId="2147473709"/>
            <ac:graphicFrameMk id="9" creationId="{0FC7DBA8-03B5-1D5D-B7A1-68AA6F62DF7E}"/>
          </ac:graphicFrameMkLst>
        </pc:graphicFrameChg>
      </pc:sldChg>
      <pc:sldChg chg="modSp add mod">
        <pc:chgData name="Tường SKHĐT" userId="ab9568c39a88b08a" providerId="LiveId" clId="{4E2872E9-828F-4E1F-9E10-468015266221}" dt="2023-05-05T09:55:20.674" v="1891" actId="20577"/>
        <pc:sldMkLst>
          <pc:docMk/>
          <pc:sldMk cId="3384527337" sldId="2147473719"/>
        </pc:sldMkLst>
        <pc:spChg chg="mod">
          <ac:chgData name="Tường SKHĐT" userId="ab9568c39a88b08a" providerId="LiveId" clId="{4E2872E9-828F-4E1F-9E10-468015266221}" dt="2023-05-05T09:55:20.674" v="1891" actId="20577"/>
          <ac:spMkLst>
            <pc:docMk/>
            <pc:sldMk cId="3384527337" sldId="2147473719"/>
            <ac:spMk id="25" creationId="{01DC26C3-E6F4-C27A-8624-3A65D81B6008}"/>
          </ac:spMkLst>
        </pc:spChg>
      </pc:sldChg>
      <pc:sldChg chg="addSp delSp modSp add del mod setBg delDesignElem">
        <pc:chgData name="Tường SKHĐT" userId="ab9568c39a88b08a" providerId="LiveId" clId="{4E2872E9-828F-4E1F-9E10-468015266221}" dt="2023-05-05T09:56:27.931" v="1893" actId="2696"/>
        <pc:sldMkLst>
          <pc:docMk/>
          <pc:sldMk cId="454728225" sldId="2147473720"/>
        </pc:sldMkLst>
        <pc:spChg chg="mod">
          <ac:chgData name="Tường SKHĐT" userId="ab9568c39a88b08a" providerId="LiveId" clId="{4E2872E9-828F-4E1F-9E10-468015266221}" dt="2023-05-05T09:41:25.229" v="1864" actId="207"/>
          <ac:spMkLst>
            <pc:docMk/>
            <pc:sldMk cId="454728225" sldId="2147473720"/>
            <ac:spMk id="2" creationId="{E297E7CA-9F9A-2043-E4DB-BE369C8AB4D3}"/>
          </ac:spMkLst>
        </pc:spChg>
        <pc:spChg chg="add mod">
          <ac:chgData name="Tường SKHĐT" userId="ab9568c39a88b08a" providerId="LiveId" clId="{4E2872E9-828F-4E1F-9E10-468015266221}" dt="2023-05-05T09:29:02.669" v="1767"/>
          <ac:spMkLst>
            <pc:docMk/>
            <pc:sldMk cId="454728225" sldId="2147473720"/>
            <ac:spMk id="3" creationId="{21B7FF54-22CF-358A-FACA-0642F19D0EAD}"/>
          </ac:spMkLst>
        </pc:spChg>
        <pc:spChg chg="del">
          <ac:chgData name="Tường SKHĐT" userId="ab9568c39a88b08a" providerId="LiveId" clId="{4E2872E9-828F-4E1F-9E10-468015266221}" dt="2023-05-05T09:41:20.221" v="1863"/>
          <ac:spMkLst>
            <pc:docMk/>
            <pc:sldMk cId="454728225" sldId="2147473720"/>
            <ac:spMk id="36" creationId="{1D63C574-BFD2-41A1-A567-B0C3CC7FDD4F}"/>
          </ac:spMkLst>
        </pc:spChg>
        <pc:spChg chg="del">
          <ac:chgData name="Tường SKHĐT" userId="ab9568c39a88b08a" providerId="LiveId" clId="{4E2872E9-828F-4E1F-9E10-468015266221}" dt="2023-05-05T09:41:20.221" v="1863"/>
          <ac:spMkLst>
            <pc:docMk/>
            <pc:sldMk cId="454728225" sldId="2147473720"/>
            <ac:spMk id="38" creationId="{E2A46BAB-8C31-42B2-90E8-B26DD3E81D37}"/>
          </ac:spMkLst>
        </pc:spChg>
        <pc:grpChg chg="del">
          <ac:chgData name="Tường SKHĐT" userId="ab9568c39a88b08a" providerId="LiveId" clId="{4E2872E9-828F-4E1F-9E10-468015266221}" dt="2023-05-05T09:41:20.221" v="1863"/>
          <ac:grpSpMkLst>
            <pc:docMk/>
            <pc:sldMk cId="454728225" sldId="2147473720"/>
            <ac:grpSpMk id="40" creationId="{B3F7A3C7-0737-4E57-B30E-8EEFE638B401}"/>
          </ac:grpSpMkLst>
        </pc:grpChg>
        <pc:grpChg chg="del">
          <ac:chgData name="Tường SKHĐT" userId="ab9568c39a88b08a" providerId="LiveId" clId="{4E2872E9-828F-4E1F-9E10-468015266221}" dt="2023-05-05T09:41:20.221" v="1863"/>
          <ac:grpSpMkLst>
            <pc:docMk/>
            <pc:sldMk cId="454728225" sldId="2147473720"/>
            <ac:grpSpMk id="44" creationId="{43F5E015-E085-4624-B431-B42414448684}"/>
          </ac:grpSpMkLst>
        </pc:grpChg>
        <pc:graphicFrameChg chg="mod">
          <ac:chgData name="Tường SKHĐT" userId="ab9568c39a88b08a" providerId="LiveId" clId="{4E2872E9-828F-4E1F-9E10-468015266221}" dt="2023-05-05T09:28:40.849" v="1763" actId="1076"/>
          <ac:graphicFrameMkLst>
            <pc:docMk/>
            <pc:sldMk cId="454728225" sldId="2147473720"/>
            <ac:graphicFrameMk id="5" creationId="{8A1FC180-BD94-4128-7690-9FBDFBE7E0F2}"/>
          </ac:graphicFrameMkLst>
        </pc:graphicFrameChg>
      </pc:sldChg>
      <pc:sldChg chg="addSp delSp modSp add mod">
        <pc:chgData name="Tường SKHĐT" userId="ab9568c39a88b08a" providerId="LiveId" clId="{4E2872E9-828F-4E1F-9E10-468015266221}" dt="2023-05-05T09:56:03.419" v="1892"/>
        <pc:sldMkLst>
          <pc:docMk/>
          <pc:sldMk cId="4140657677" sldId="2147473721"/>
        </pc:sldMkLst>
        <pc:spChg chg="del">
          <ac:chgData name="Tường SKHĐT" userId="ab9568c39a88b08a" providerId="LiveId" clId="{4E2872E9-828F-4E1F-9E10-468015266221}" dt="2023-05-05T09:29:26.422" v="1768" actId="21"/>
          <ac:spMkLst>
            <pc:docMk/>
            <pc:sldMk cId="4140657677" sldId="2147473721"/>
            <ac:spMk id="2" creationId="{85B15777-9A9B-83C0-EAE1-18A3DD8356D6}"/>
          </ac:spMkLst>
        </pc:spChg>
        <pc:spChg chg="add del mod">
          <ac:chgData name="Tường SKHĐT" userId="ab9568c39a88b08a" providerId="LiveId" clId="{4E2872E9-828F-4E1F-9E10-468015266221}" dt="2023-05-05T09:29:29.483" v="1769" actId="21"/>
          <ac:spMkLst>
            <pc:docMk/>
            <pc:sldMk cId="4140657677" sldId="2147473721"/>
            <ac:spMk id="5" creationId="{D6A5D65E-8C13-ABDA-2C65-C459951700CB}"/>
          </ac:spMkLst>
        </pc:spChg>
        <pc:spChg chg="add mod">
          <ac:chgData name="Tường SKHĐT" userId="ab9568c39a88b08a" providerId="LiveId" clId="{4E2872E9-828F-4E1F-9E10-468015266221}" dt="2023-05-05T09:29:36.675" v="1770"/>
          <ac:spMkLst>
            <pc:docMk/>
            <pc:sldMk cId="4140657677" sldId="2147473721"/>
            <ac:spMk id="8" creationId="{7DE2067D-6A16-7795-7668-43877C1D16E1}"/>
          </ac:spMkLst>
        </pc:spChg>
        <pc:spChg chg="add mod">
          <ac:chgData name="Tường SKHĐT" userId="ab9568c39a88b08a" providerId="LiveId" clId="{4E2872E9-828F-4E1F-9E10-468015266221}" dt="2023-05-05T09:29:36.675" v="1770"/>
          <ac:spMkLst>
            <pc:docMk/>
            <pc:sldMk cId="4140657677" sldId="2147473721"/>
            <ac:spMk id="9" creationId="{0E39DB1C-0063-45AB-7205-BC041C40DB7F}"/>
          </ac:spMkLst>
        </pc:spChg>
        <pc:graphicFrameChg chg="mod">
          <ac:chgData name="Tường SKHĐT" userId="ab9568c39a88b08a" providerId="LiveId" clId="{4E2872E9-828F-4E1F-9E10-468015266221}" dt="2023-05-05T09:56:03.419" v="1892"/>
          <ac:graphicFrameMkLst>
            <pc:docMk/>
            <pc:sldMk cId="4140657677" sldId="2147473721"/>
            <ac:graphicFrameMk id="7" creationId="{21072E10-E213-8230-E87D-66CC2B0F206C}"/>
          </ac:graphicFrameMkLst>
        </pc:graphicFrameChg>
      </pc:sldChg>
      <pc:sldChg chg="delSp new del mod">
        <pc:chgData name="Tường SKHĐT" userId="ab9568c39a88b08a" providerId="LiveId" clId="{4E2872E9-828F-4E1F-9E10-468015266221}" dt="2023-05-05T09:41:29.553" v="1865" actId="2696"/>
        <pc:sldMkLst>
          <pc:docMk/>
          <pc:sldMk cId="1757473364" sldId="2147473722"/>
        </pc:sldMkLst>
        <pc:spChg chg="del">
          <ac:chgData name="Tường SKHĐT" userId="ab9568c39a88b08a" providerId="LiveId" clId="{4E2872E9-828F-4E1F-9E10-468015266221}" dt="2023-05-05T09:41:16.755" v="1861" actId="21"/>
          <ac:spMkLst>
            <pc:docMk/>
            <pc:sldMk cId="1757473364" sldId="2147473722"/>
            <ac:spMk id="2" creationId="{2000FBB1-311E-2EAD-EE2C-4AD2CEB3A81F}"/>
          </ac:spMkLst>
        </pc:spChg>
      </pc:sldChg>
      <pc:sldChg chg="modSp add mod">
        <pc:chgData name="Tường SKHĐT" userId="ab9568c39a88b08a" providerId="LiveId" clId="{4E2872E9-828F-4E1F-9E10-468015266221}" dt="2023-05-05T09:54:30.461" v="1889" actId="20577"/>
        <pc:sldMkLst>
          <pc:docMk/>
          <pc:sldMk cId="247715977" sldId="2147473723"/>
        </pc:sldMkLst>
        <pc:spChg chg="mod">
          <ac:chgData name="Tường SKHĐT" userId="ab9568c39a88b08a" providerId="LiveId" clId="{4E2872E9-828F-4E1F-9E10-468015266221}" dt="2023-05-05T09:54:30.461" v="1889" actId="20577"/>
          <ac:spMkLst>
            <pc:docMk/>
            <pc:sldMk cId="247715977" sldId="2147473723"/>
            <ac:spMk id="25" creationId="{01DC26C3-E6F4-C27A-8624-3A65D81B6008}"/>
          </ac:spMkLst>
        </pc:spChg>
      </pc:sldChg>
    </pc:docChg>
  </pc:docChgLst>
  <pc:docChgLst>
    <pc:chgData name="Tường SKHĐT" userId="ab9568c39a88b08a" providerId="LiveId" clId="{44DE60A2-1DC5-42EF-AF67-89BD8B3CB1DB}"/>
    <pc:docChg chg="addSld modSld">
      <pc:chgData name="Tường SKHĐT" userId="ab9568c39a88b08a" providerId="LiveId" clId="{44DE60A2-1DC5-42EF-AF67-89BD8B3CB1DB}" dt="2023-02-17T09:19:34.412" v="0"/>
      <pc:docMkLst>
        <pc:docMk/>
      </pc:docMkLst>
      <pc:sldChg chg="add">
        <pc:chgData name="Tường SKHĐT" userId="ab9568c39a88b08a" providerId="LiveId" clId="{44DE60A2-1DC5-42EF-AF67-89BD8B3CB1DB}" dt="2023-02-17T09:19:34.412" v="0"/>
        <pc:sldMkLst>
          <pc:docMk/>
          <pc:sldMk cId="94820056" sldId="2147473527"/>
        </pc:sldMkLst>
      </pc:sldChg>
    </pc:docChg>
  </pc:docChgLst>
  <pc:docChgLst>
    <pc:chgData name="Tường SKHĐT" userId="ab9568c39a88b08a" providerId="LiveId" clId="{416BC8F9-2F47-4FA9-8F5D-98F43C904B66}"/>
    <pc:docChg chg="undo custSel addSld delSld modSld">
      <pc:chgData name="Tường SKHĐT" userId="ab9568c39a88b08a" providerId="LiveId" clId="{416BC8F9-2F47-4FA9-8F5D-98F43C904B66}" dt="2023-04-26T04:04:03.116" v="1936" actId="20577"/>
      <pc:docMkLst>
        <pc:docMk/>
      </pc:docMkLst>
      <pc:sldChg chg="modSp mod">
        <pc:chgData name="Tường SKHĐT" userId="ab9568c39a88b08a" providerId="LiveId" clId="{416BC8F9-2F47-4FA9-8F5D-98F43C904B66}" dt="2023-04-24T00:17:05.920" v="6" actId="20577"/>
        <pc:sldMkLst>
          <pc:docMk/>
          <pc:sldMk cId="1596329165" sldId="455"/>
        </pc:sldMkLst>
        <pc:spChg chg="mod">
          <ac:chgData name="Tường SKHĐT" userId="ab9568c39a88b08a" providerId="LiveId" clId="{416BC8F9-2F47-4FA9-8F5D-98F43C904B66}" dt="2023-04-24T00:17:03.605" v="4" actId="20577"/>
          <ac:spMkLst>
            <pc:docMk/>
            <pc:sldMk cId="1596329165" sldId="455"/>
            <ac:spMk id="7" creationId="{E508593D-8C0D-4163-9A4A-7D6922F8A0DF}"/>
          </ac:spMkLst>
        </pc:spChg>
        <pc:spChg chg="mod">
          <ac:chgData name="Tường SKHĐT" userId="ab9568c39a88b08a" providerId="LiveId" clId="{416BC8F9-2F47-4FA9-8F5D-98F43C904B66}" dt="2023-04-24T00:17:05.920" v="6" actId="20577"/>
          <ac:spMkLst>
            <pc:docMk/>
            <pc:sldMk cId="1596329165" sldId="455"/>
            <ac:spMk id="27" creationId="{87251008-0654-48EC-B85B-8EA2BB576990}"/>
          </ac:spMkLst>
        </pc:spChg>
      </pc:sldChg>
      <pc:sldChg chg="del">
        <pc:chgData name="Tường SKHĐT" userId="ab9568c39a88b08a" providerId="LiveId" clId="{416BC8F9-2F47-4FA9-8F5D-98F43C904B66}" dt="2023-04-24T00:18:01.469" v="13" actId="2696"/>
        <pc:sldMkLst>
          <pc:docMk/>
          <pc:sldMk cId="348917705" sldId="482"/>
        </pc:sldMkLst>
      </pc:sldChg>
      <pc:sldChg chg="delSp modSp mod">
        <pc:chgData name="Tường SKHĐT" userId="ab9568c39a88b08a" providerId="LiveId" clId="{416BC8F9-2F47-4FA9-8F5D-98F43C904B66}" dt="2023-04-24T01:50:41.457" v="1354" actId="1076"/>
        <pc:sldMkLst>
          <pc:docMk/>
          <pc:sldMk cId="4051799181" sldId="483"/>
        </pc:sldMkLst>
        <pc:spChg chg="mod">
          <ac:chgData name="Tường SKHĐT" userId="ab9568c39a88b08a" providerId="LiveId" clId="{416BC8F9-2F47-4FA9-8F5D-98F43C904B66}" dt="2023-04-24T00:18:14.519" v="19" actId="20577"/>
          <ac:spMkLst>
            <pc:docMk/>
            <pc:sldMk cId="4051799181" sldId="483"/>
            <ac:spMk id="4" creationId="{00000000-0000-0000-0000-000000000000}"/>
          </ac:spMkLst>
        </pc:spChg>
        <pc:graphicFrameChg chg="del">
          <ac:chgData name="Tường SKHĐT" userId="ab9568c39a88b08a" providerId="LiveId" clId="{416BC8F9-2F47-4FA9-8F5D-98F43C904B66}" dt="2023-04-24T00:58:31.418" v="354" actId="21"/>
          <ac:graphicFrameMkLst>
            <pc:docMk/>
            <pc:sldMk cId="4051799181" sldId="483"/>
            <ac:graphicFrameMk id="2" creationId="{E76DB986-E2D7-83CD-133B-774E10731A3B}"/>
          </ac:graphicFrameMkLst>
        </pc:graphicFrameChg>
        <pc:graphicFrameChg chg="del mod">
          <ac:chgData name="Tường SKHĐT" userId="ab9568c39a88b08a" providerId="LiveId" clId="{416BC8F9-2F47-4FA9-8F5D-98F43C904B66}" dt="2023-04-24T01:49:44.256" v="1351" actId="21"/>
          <ac:graphicFrameMkLst>
            <pc:docMk/>
            <pc:sldMk cId="4051799181" sldId="483"/>
            <ac:graphicFrameMk id="3" creationId="{31DD3D88-238B-19CC-C9F5-B92C4ADAE7E2}"/>
          </ac:graphicFrameMkLst>
        </pc:graphicFrameChg>
        <pc:graphicFrameChg chg="mod">
          <ac:chgData name="Tường SKHĐT" userId="ab9568c39a88b08a" providerId="LiveId" clId="{416BC8F9-2F47-4FA9-8F5D-98F43C904B66}" dt="2023-04-24T01:50:41.457" v="1354" actId="1076"/>
          <ac:graphicFrameMkLst>
            <pc:docMk/>
            <pc:sldMk cId="4051799181" sldId="483"/>
            <ac:graphicFrameMk id="5" creationId="{EAEA73E4-7A47-885E-CE15-6A5FA6943BB4}"/>
          </ac:graphicFrameMkLst>
        </pc:graphicFrameChg>
      </pc:sldChg>
      <pc:sldChg chg="modSp mod">
        <pc:chgData name="Tường SKHĐT" userId="ab9568c39a88b08a" providerId="LiveId" clId="{416BC8F9-2F47-4FA9-8F5D-98F43C904B66}" dt="2023-04-24T00:19:18.889" v="24" actId="20577"/>
        <pc:sldMkLst>
          <pc:docMk/>
          <pc:sldMk cId="3898226705" sldId="2147468741"/>
        </pc:sldMkLst>
        <pc:spChg chg="mod">
          <ac:chgData name="Tường SKHĐT" userId="ab9568c39a88b08a" providerId="LiveId" clId="{416BC8F9-2F47-4FA9-8F5D-98F43C904B66}" dt="2023-04-24T00:19:18.889" v="24" actId="20577"/>
          <ac:spMkLst>
            <pc:docMk/>
            <pc:sldMk cId="3898226705" sldId="2147468741"/>
            <ac:spMk id="4" creationId="{A8ED73C0-6DEB-F036-A81D-A84B4FA62951}"/>
          </ac:spMkLst>
        </pc:spChg>
      </pc:sldChg>
      <pc:sldChg chg="modSp mod">
        <pc:chgData name="Tường SKHĐT" userId="ab9568c39a88b08a" providerId="LiveId" clId="{416BC8F9-2F47-4FA9-8F5D-98F43C904B66}" dt="2023-04-24T00:25:46.598" v="215" actId="20577"/>
        <pc:sldMkLst>
          <pc:docMk/>
          <pc:sldMk cId="914573862" sldId="2147473474"/>
        </pc:sldMkLst>
        <pc:spChg chg="mod">
          <ac:chgData name="Tường SKHĐT" userId="ab9568c39a88b08a" providerId="LiveId" clId="{416BC8F9-2F47-4FA9-8F5D-98F43C904B66}" dt="2023-04-24T00:24:20.446" v="192" actId="20577"/>
          <ac:spMkLst>
            <pc:docMk/>
            <pc:sldMk cId="914573862" sldId="2147473474"/>
            <ac:spMk id="3" creationId="{D56CE58D-FB5F-1D10-4BAF-E7B0E8BB9294}"/>
          </ac:spMkLst>
        </pc:spChg>
        <pc:graphicFrameChg chg="mod">
          <ac:chgData name="Tường SKHĐT" userId="ab9568c39a88b08a" providerId="LiveId" clId="{416BC8F9-2F47-4FA9-8F5D-98F43C904B66}" dt="2023-04-24T00:25:46.598" v="215" actId="20577"/>
          <ac:graphicFrameMkLst>
            <pc:docMk/>
            <pc:sldMk cId="914573862" sldId="2147473474"/>
            <ac:graphicFrameMk id="2" creationId="{A091C242-D65F-E0C5-16D6-B15756DA14A6}"/>
          </ac:graphicFrameMkLst>
        </pc:graphicFrameChg>
        <pc:cxnChg chg="mod">
          <ac:chgData name="Tường SKHĐT" userId="ab9568c39a88b08a" providerId="LiveId" clId="{416BC8F9-2F47-4FA9-8F5D-98F43C904B66}" dt="2023-04-24T00:24:14.813" v="190" actId="14100"/>
          <ac:cxnSpMkLst>
            <pc:docMk/>
            <pc:sldMk cId="914573862" sldId="2147473474"/>
            <ac:cxnSpMk id="5" creationId="{B76B30D3-4366-089A-F34D-48B859C3B869}"/>
          </ac:cxnSpMkLst>
        </pc:cxnChg>
      </pc:sldChg>
      <pc:sldChg chg="addSp delSp modSp mod">
        <pc:chgData name="Tường SKHĐT" userId="ab9568c39a88b08a" providerId="LiveId" clId="{416BC8F9-2F47-4FA9-8F5D-98F43C904B66}" dt="2023-04-24T00:32:35.633" v="349"/>
        <pc:sldMkLst>
          <pc:docMk/>
          <pc:sldMk cId="3133831680" sldId="2147473476"/>
        </pc:sldMkLst>
        <pc:spChg chg="mod">
          <ac:chgData name="Tường SKHĐT" userId="ab9568c39a88b08a" providerId="LiveId" clId="{416BC8F9-2F47-4FA9-8F5D-98F43C904B66}" dt="2023-04-24T00:24:23.702" v="194" actId="20577"/>
          <ac:spMkLst>
            <pc:docMk/>
            <pc:sldMk cId="3133831680" sldId="2147473476"/>
            <ac:spMk id="3" creationId="{D56CE58D-FB5F-1D10-4BAF-E7B0E8BB9294}"/>
          </ac:spMkLst>
        </pc:spChg>
        <pc:spChg chg="add del mod">
          <ac:chgData name="Tường SKHĐT" userId="ab9568c39a88b08a" providerId="LiveId" clId="{416BC8F9-2F47-4FA9-8F5D-98F43C904B66}" dt="2023-04-24T00:23:58.445" v="186"/>
          <ac:spMkLst>
            <pc:docMk/>
            <pc:sldMk cId="3133831680" sldId="2147473476"/>
            <ac:spMk id="4" creationId="{8EC2540E-35CE-9A87-0B39-BF5B656F2FA6}"/>
          </ac:spMkLst>
        </pc:spChg>
        <pc:graphicFrameChg chg="mod">
          <ac:chgData name="Tường SKHĐT" userId="ab9568c39a88b08a" providerId="LiveId" clId="{416BC8F9-2F47-4FA9-8F5D-98F43C904B66}" dt="2023-04-24T00:32:35.633" v="349"/>
          <ac:graphicFrameMkLst>
            <pc:docMk/>
            <pc:sldMk cId="3133831680" sldId="2147473476"/>
            <ac:graphicFrameMk id="2" creationId="{A091C242-D65F-E0C5-16D6-B15756DA14A6}"/>
          </ac:graphicFrameMkLst>
        </pc:graphicFrameChg>
        <pc:cxnChg chg="mod">
          <ac:chgData name="Tường SKHĐT" userId="ab9568c39a88b08a" providerId="LiveId" clId="{416BC8F9-2F47-4FA9-8F5D-98F43C904B66}" dt="2023-04-24T00:24:08.160" v="189" actId="14100"/>
          <ac:cxnSpMkLst>
            <pc:docMk/>
            <pc:sldMk cId="3133831680" sldId="2147473476"/>
            <ac:cxnSpMk id="6" creationId="{AF18982B-1EB8-38FB-804F-68378B0CB0EE}"/>
          </ac:cxnSpMkLst>
        </pc:cxnChg>
      </pc:sldChg>
      <pc:sldChg chg="delSp modSp mod">
        <pc:chgData name="Tường SKHĐT" userId="ab9568c39a88b08a" providerId="LiveId" clId="{416BC8F9-2F47-4FA9-8F5D-98F43C904B66}" dt="2023-04-24T00:59:12.780" v="359" actId="1076"/>
        <pc:sldMkLst>
          <pc:docMk/>
          <pc:sldMk cId="4092993056" sldId="2147473513"/>
        </pc:sldMkLst>
        <pc:spChg chg="mod">
          <ac:chgData name="Tường SKHĐT" userId="ab9568c39a88b08a" providerId="LiveId" clId="{416BC8F9-2F47-4FA9-8F5D-98F43C904B66}" dt="2023-04-24T00:18:18.325" v="22" actId="20577"/>
          <ac:spMkLst>
            <pc:docMk/>
            <pc:sldMk cId="4092993056" sldId="2147473513"/>
            <ac:spMk id="4" creationId="{00000000-0000-0000-0000-000000000000}"/>
          </ac:spMkLst>
        </pc:spChg>
        <pc:graphicFrameChg chg="del">
          <ac:chgData name="Tường SKHĐT" userId="ab9568c39a88b08a" providerId="LiveId" clId="{416BC8F9-2F47-4FA9-8F5D-98F43C904B66}" dt="2023-04-24T00:58:55.254" v="357" actId="21"/>
          <ac:graphicFrameMkLst>
            <pc:docMk/>
            <pc:sldMk cId="4092993056" sldId="2147473513"/>
            <ac:graphicFrameMk id="2" creationId="{0D8B5243-E79C-12EE-061D-B81A1D20A95D}"/>
          </ac:graphicFrameMkLst>
        </pc:graphicFrameChg>
        <pc:graphicFrameChg chg="mod">
          <ac:chgData name="Tường SKHĐT" userId="ab9568c39a88b08a" providerId="LiveId" clId="{416BC8F9-2F47-4FA9-8F5D-98F43C904B66}" dt="2023-04-24T00:59:12.780" v="359" actId="1076"/>
          <ac:graphicFrameMkLst>
            <pc:docMk/>
            <pc:sldMk cId="4092993056" sldId="2147473513"/>
            <ac:graphicFrameMk id="3" creationId="{580FE394-8F7B-E939-086A-518C9C88216D}"/>
          </ac:graphicFrameMkLst>
        </pc:graphicFrameChg>
      </pc:sldChg>
      <pc:sldChg chg="addSp delSp modSp mod">
        <pc:chgData name="Tường SKHĐT" userId="ab9568c39a88b08a" providerId="LiveId" clId="{416BC8F9-2F47-4FA9-8F5D-98F43C904B66}" dt="2023-04-24T01:08:56.001" v="621" actId="14100"/>
        <pc:sldMkLst>
          <pc:docMk/>
          <pc:sldMk cId="1563031195" sldId="2147473516"/>
        </pc:sldMkLst>
        <pc:spChg chg="mod">
          <ac:chgData name="Tường SKHĐT" userId="ab9568c39a88b08a" providerId="LiveId" clId="{416BC8F9-2F47-4FA9-8F5D-98F43C904B66}" dt="2023-04-24T01:03:50.915" v="450" actId="20577"/>
          <ac:spMkLst>
            <pc:docMk/>
            <pc:sldMk cId="1563031195" sldId="2147473516"/>
            <ac:spMk id="4" creationId="{16D24723-A233-03FF-2329-1817AB93339D}"/>
          </ac:spMkLst>
        </pc:spChg>
        <pc:graphicFrameChg chg="mod modGraphic">
          <ac:chgData name="Tường SKHĐT" userId="ab9568c39a88b08a" providerId="LiveId" clId="{416BC8F9-2F47-4FA9-8F5D-98F43C904B66}" dt="2023-04-24T01:05:09.585" v="469" actId="20577"/>
          <ac:graphicFrameMkLst>
            <pc:docMk/>
            <pc:sldMk cId="1563031195" sldId="2147473516"/>
            <ac:graphicFrameMk id="8" creationId="{B5E5335D-2EED-82AF-3A59-FAE8BB94EAE1}"/>
          </ac:graphicFrameMkLst>
        </pc:graphicFrameChg>
        <pc:picChg chg="mod">
          <ac:chgData name="Tường SKHĐT" userId="ab9568c39a88b08a" providerId="LiveId" clId="{416BC8F9-2F47-4FA9-8F5D-98F43C904B66}" dt="2023-04-24T01:08:56.001" v="621" actId="14100"/>
          <ac:picMkLst>
            <pc:docMk/>
            <pc:sldMk cId="1563031195" sldId="2147473516"/>
            <ac:picMk id="2" creationId="{4D464A2C-A35A-0F4C-1B21-00ECD1B61550}"/>
          </ac:picMkLst>
        </pc:picChg>
        <pc:picChg chg="del">
          <ac:chgData name="Tường SKHĐT" userId="ab9568c39a88b08a" providerId="LiveId" clId="{416BC8F9-2F47-4FA9-8F5D-98F43C904B66}" dt="2023-04-24T00:59:22.451" v="360" actId="21"/>
          <ac:picMkLst>
            <pc:docMk/>
            <pc:sldMk cId="1563031195" sldId="2147473516"/>
            <ac:picMk id="3" creationId="{0D298A81-C78B-6568-109E-EFA8EF6DD241}"/>
          </ac:picMkLst>
        </pc:picChg>
        <pc:picChg chg="add mod">
          <ac:chgData name="Tường SKHĐT" userId="ab9568c39a88b08a" providerId="LiveId" clId="{416BC8F9-2F47-4FA9-8F5D-98F43C904B66}" dt="2023-04-24T01:08:54.023" v="620" actId="14100"/>
          <ac:picMkLst>
            <pc:docMk/>
            <pc:sldMk cId="1563031195" sldId="2147473516"/>
            <ac:picMk id="5" creationId="{703D3D6B-F945-D404-5725-589AA74EAB72}"/>
          </ac:picMkLst>
        </pc:picChg>
      </pc:sldChg>
      <pc:sldChg chg="delSp modSp mod">
        <pc:chgData name="Tường SKHĐT" userId="ab9568c39a88b08a" providerId="LiveId" clId="{416BC8F9-2F47-4FA9-8F5D-98F43C904B66}" dt="2023-04-24T01:54:52.597" v="1564" actId="14100"/>
        <pc:sldMkLst>
          <pc:docMk/>
          <pc:sldMk cId="3024842976" sldId="2147473518"/>
        </pc:sldMkLst>
        <pc:spChg chg="mod">
          <ac:chgData name="Tường SKHĐT" userId="ab9568c39a88b08a" providerId="LiveId" clId="{416BC8F9-2F47-4FA9-8F5D-98F43C904B66}" dt="2023-04-24T01:42:56.673" v="1167" actId="20577"/>
          <ac:spMkLst>
            <pc:docMk/>
            <pc:sldMk cId="3024842976" sldId="2147473518"/>
            <ac:spMk id="4" creationId="{16D24723-A233-03FF-2329-1817AB93339D}"/>
          </ac:spMkLst>
        </pc:spChg>
        <pc:graphicFrameChg chg="mod modGraphic">
          <ac:chgData name="Tường SKHĐT" userId="ab9568c39a88b08a" providerId="LiveId" clId="{416BC8F9-2F47-4FA9-8F5D-98F43C904B66}" dt="2023-04-24T01:54:52.597" v="1564" actId="14100"/>
          <ac:graphicFrameMkLst>
            <pc:docMk/>
            <pc:sldMk cId="3024842976" sldId="2147473518"/>
            <ac:graphicFrameMk id="8" creationId="{B5E5335D-2EED-82AF-3A59-FAE8BB94EAE1}"/>
          </ac:graphicFrameMkLst>
        </pc:graphicFrameChg>
        <pc:picChg chg="del">
          <ac:chgData name="Tường SKHĐT" userId="ab9568c39a88b08a" providerId="LiveId" clId="{416BC8F9-2F47-4FA9-8F5D-98F43C904B66}" dt="2023-04-24T01:42:59.808" v="1168" actId="21"/>
          <ac:picMkLst>
            <pc:docMk/>
            <pc:sldMk cId="3024842976" sldId="2147473518"/>
            <ac:picMk id="3" creationId="{C3BEF987-00D8-EC17-C0FA-5ED70A56A5FD}"/>
          </ac:picMkLst>
        </pc:picChg>
      </pc:sldChg>
      <pc:sldChg chg="modSp mod">
        <pc:chgData name="Tường SKHĐT" userId="ab9568c39a88b08a" providerId="LiveId" clId="{416BC8F9-2F47-4FA9-8F5D-98F43C904B66}" dt="2023-04-24T01:55:07.240" v="1570" actId="20577"/>
        <pc:sldMkLst>
          <pc:docMk/>
          <pc:sldMk cId="2957479116" sldId="2147473519"/>
        </pc:sldMkLst>
        <pc:spChg chg="mod">
          <ac:chgData name="Tường SKHĐT" userId="ab9568c39a88b08a" providerId="LiveId" clId="{416BC8F9-2F47-4FA9-8F5D-98F43C904B66}" dt="2023-04-24T01:55:07.240" v="1570" actId="20577"/>
          <ac:spMkLst>
            <pc:docMk/>
            <pc:sldMk cId="2957479116" sldId="2147473519"/>
            <ac:spMk id="4" creationId="{16D24723-A233-03FF-2329-1817AB93339D}"/>
          </ac:spMkLst>
        </pc:spChg>
        <pc:graphicFrameChg chg="mod modGraphic">
          <ac:chgData name="Tường SKHĐT" userId="ab9568c39a88b08a" providerId="LiveId" clId="{416BC8F9-2F47-4FA9-8F5D-98F43C904B66}" dt="2023-04-24T01:53:01.018" v="1476" actId="404"/>
          <ac:graphicFrameMkLst>
            <pc:docMk/>
            <pc:sldMk cId="2957479116" sldId="2147473519"/>
            <ac:graphicFrameMk id="8" creationId="{B5E5335D-2EED-82AF-3A59-FAE8BB94EAE1}"/>
          </ac:graphicFrameMkLst>
        </pc:graphicFrameChg>
      </pc:sldChg>
      <pc:sldChg chg="addSp delSp modSp mod">
        <pc:chgData name="Tường SKHĐT" userId="ab9568c39a88b08a" providerId="LiveId" clId="{416BC8F9-2F47-4FA9-8F5D-98F43C904B66}" dt="2023-04-24T02:01:26.704" v="1687" actId="14100"/>
        <pc:sldMkLst>
          <pc:docMk/>
          <pc:sldMk cId="2307671257" sldId="2147473521"/>
        </pc:sldMkLst>
        <pc:spChg chg="mod">
          <ac:chgData name="Tường SKHĐT" userId="ab9568c39a88b08a" providerId="LiveId" clId="{416BC8F9-2F47-4FA9-8F5D-98F43C904B66}" dt="2023-04-24T01:55:13.510" v="1573" actId="20577"/>
          <ac:spMkLst>
            <pc:docMk/>
            <pc:sldMk cId="2307671257" sldId="2147473521"/>
            <ac:spMk id="4" creationId="{16D24723-A233-03FF-2329-1817AB93339D}"/>
          </ac:spMkLst>
        </pc:spChg>
        <pc:graphicFrameChg chg="mod modGraphic">
          <ac:chgData name="Tường SKHĐT" userId="ab9568c39a88b08a" providerId="LiveId" clId="{416BC8F9-2F47-4FA9-8F5D-98F43C904B66}" dt="2023-04-24T01:59:44.111" v="1678" actId="20577"/>
          <ac:graphicFrameMkLst>
            <pc:docMk/>
            <pc:sldMk cId="2307671257" sldId="2147473521"/>
            <ac:graphicFrameMk id="8" creationId="{B5E5335D-2EED-82AF-3A59-FAE8BB94EAE1}"/>
          </ac:graphicFrameMkLst>
        </pc:graphicFrameChg>
        <pc:picChg chg="del">
          <ac:chgData name="Tường SKHĐT" userId="ab9568c39a88b08a" providerId="LiveId" clId="{416BC8F9-2F47-4FA9-8F5D-98F43C904B66}" dt="2023-04-24T02:01:11.378" v="1679" actId="21"/>
          <ac:picMkLst>
            <pc:docMk/>
            <pc:sldMk cId="2307671257" sldId="2147473521"/>
            <ac:picMk id="3" creationId="{22A7FC88-1858-3541-02D2-84374FC6A429}"/>
          </ac:picMkLst>
        </pc:picChg>
        <pc:picChg chg="add mod">
          <ac:chgData name="Tường SKHĐT" userId="ab9568c39a88b08a" providerId="LiveId" clId="{416BC8F9-2F47-4FA9-8F5D-98F43C904B66}" dt="2023-04-24T02:01:26.704" v="1687" actId="14100"/>
          <ac:picMkLst>
            <pc:docMk/>
            <pc:sldMk cId="2307671257" sldId="2147473521"/>
            <ac:picMk id="7" creationId="{0492AE10-F947-D32E-A7BC-F6AB29544F7B}"/>
          </ac:picMkLst>
        </pc:picChg>
      </pc:sldChg>
      <pc:sldChg chg="delSp modSp mod">
        <pc:chgData name="Tường SKHĐT" userId="ab9568c39a88b08a" providerId="LiveId" clId="{416BC8F9-2F47-4FA9-8F5D-98F43C904B66}" dt="2023-04-24T02:02:51.147" v="1706" actId="20577"/>
        <pc:sldMkLst>
          <pc:docMk/>
          <pc:sldMk cId="2802465441" sldId="2147473522"/>
        </pc:sldMkLst>
        <pc:spChg chg="mod">
          <ac:chgData name="Tường SKHĐT" userId="ab9568c39a88b08a" providerId="LiveId" clId="{416BC8F9-2F47-4FA9-8F5D-98F43C904B66}" dt="2023-04-24T01:55:16.586" v="1576" actId="20577"/>
          <ac:spMkLst>
            <pc:docMk/>
            <pc:sldMk cId="2802465441" sldId="2147473522"/>
            <ac:spMk id="4" creationId="{16D24723-A233-03FF-2329-1817AB93339D}"/>
          </ac:spMkLst>
        </pc:spChg>
        <pc:graphicFrameChg chg="mod modGraphic">
          <ac:chgData name="Tường SKHĐT" userId="ab9568c39a88b08a" providerId="LiveId" clId="{416BC8F9-2F47-4FA9-8F5D-98F43C904B66}" dt="2023-04-24T02:02:51.147" v="1706" actId="20577"/>
          <ac:graphicFrameMkLst>
            <pc:docMk/>
            <pc:sldMk cId="2802465441" sldId="2147473522"/>
            <ac:graphicFrameMk id="9" creationId="{0FC7DBA8-03B5-1D5D-B7A1-68AA6F62DF7E}"/>
          </ac:graphicFrameMkLst>
        </pc:graphicFrameChg>
        <pc:picChg chg="del">
          <ac:chgData name="Tường SKHĐT" userId="ab9568c39a88b08a" providerId="LiveId" clId="{416BC8F9-2F47-4FA9-8F5D-98F43C904B66}" dt="2023-04-24T01:55:20.569" v="1578" actId="21"/>
          <ac:picMkLst>
            <pc:docMk/>
            <pc:sldMk cId="2802465441" sldId="2147473522"/>
            <ac:picMk id="3" creationId="{F1C86665-484F-794D-CFA7-5A2693500FE9}"/>
          </ac:picMkLst>
        </pc:picChg>
        <pc:picChg chg="del">
          <ac:chgData name="Tường SKHĐT" userId="ab9568c39a88b08a" providerId="LiveId" clId="{416BC8F9-2F47-4FA9-8F5D-98F43C904B66}" dt="2023-04-24T01:55:18.913" v="1577" actId="21"/>
          <ac:picMkLst>
            <pc:docMk/>
            <pc:sldMk cId="2802465441" sldId="2147473522"/>
            <ac:picMk id="5" creationId="{A2E80A29-18BA-20CE-B5E1-822C6F11226D}"/>
          </ac:picMkLst>
        </pc:picChg>
        <pc:picChg chg="del">
          <ac:chgData name="Tường SKHĐT" userId="ab9568c39a88b08a" providerId="LiveId" clId="{416BC8F9-2F47-4FA9-8F5D-98F43C904B66}" dt="2023-04-24T01:55:22.711" v="1579" actId="21"/>
          <ac:picMkLst>
            <pc:docMk/>
            <pc:sldMk cId="2802465441" sldId="2147473522"/>
            <ac:picMk id="7" creationId="{26274E26-13C4-619E-13E0-2799671F389F}"/>
          </ac:picMkLst>
        </pc:picChg>
      </pc:sldChg>
      <pc:sldChg chg="modSp mod">
        <pc:chgData name="Tường SKHĐT" userId="ab9568c39a88b08a" providerId="LiveId" clId="{416BC8F9-2F47-4FA9-8F5D-98F43C904B66}" dt="2023-04-24T01:54:44.024" v="1561" actId="20577"/>
        <pc:sldMkLst>
          <pc:docMk/>
          <pc:sldMk cId="1822639037" sldId="2147473524"/>
        </pc:sldMkLst>
        <pc:spChg chg="mod">
          <ac:chgData name="Tường SKHĐT" userId="ab9568c39a88b08a" providerId="LiveId" clId="{416BC8F9-2F47-4FA9-8F5D-98F43C904B66}" dt="2023-04-24T01:54:12.017" v="1509" actId="20577"/>
          <ac:spMkLst>
            <pc:docMk/>
            <pc:sldMk cId="1822639037" sldId="2147473524"/>
            <ac:spMk id="6" creationId="{8F441EC3-0BA7-4F59-8AD1-8445D9757715}"/>
          </ac:spMkLst>
        </pc:spChg>
        <pc:spChg chg="mod">
          <ac:chgData name="Tường SKHĐT" userId="ab9568c39a88b08a" providerId="LiveId" clId="{416BC8F9-2F47-4FA9-8F5D-98F43C904B66}" dt="2023-04-24T01:54:23.745" v="1529" actId="20577"/>
          <ac:spMkLst>
            <pc:docMk/>
            <pc:sldMk cId="1822639037" sldId="2147473524"/>
            <ac:spMk id="7" creationId="{6C0C263C-8AC5-4EA9-6623-5D53F070A466}"/>
          </ac:spMkLst>
        </pc:spChg>
        <pc:spChg chg="mod">
          <ac:chgData name="Tường SKHĐT" userId="ab9568c39a88b08a" providerId="LiveId" clId="{416BC8F9-2F47-4FA9-8F5D-98F43C904B66}" dt="2023-04-24T01:54:34.233" v="1544" actId="20577"/>
          <ac:spMkLst>
            <pc:docMk/>
            <pc:sldMk cId="1822639037" sldId="2147473524"/>
            <ac:spMk id="8" creationId="{BE3FBCC4-B1C6-7537-0DC2-C1A9645EA02C}"/>
          </ac:spMkLst>
        </pc:spChg>
        <pc:spChg chg="mod">
          <ac:chgData name="Tường SKHĐT" userId="ab9568c39a88b08a" providerId="LiveId" clId="{416BC8F9-2F47-4FA9-8F5D-98F43C904B66}" dt="2023-04-24T01:54:44.024" v="1561" actId="20577"/>
          <ac:spMkLst>
            <pc:docMk/>
            <pc:sldMk cId="1822639037" sldId="2147473524"/>
            <ac:spMk id="9" creationId="{BF2EF6F2-669D-669D-8EC0-42EAD0DB9009}"/>
          </ac:spMkLst>
        </pc:spChg>
        <pc:spChg chg="mod">
          <ac:chgData name="Tường SKHĐT" userId="ab9568c39a88b08a" providerId="LiveId" clId="{416BC8F9-2F47-4FA9-8F5D-98F43C904B66}" dt="2023-04-24T01:53:59.293" v="1493" actId="14100"/>
          <ac:spMkLst>
            <pc:docMk/>
            <pc:sldMk cId="1822639037" sldId="2147473524"/>
            <ac:spMk id="20" creationId="{46499BF0-4D64-5CB9-D715-F6433918CD00}"/>
          </ac:spMkLst>
        </pc:spChg>
      </pc:sldChg>
      <pc:sldChg chg="modSp del mod">
        <pc:chgData name="Tường SKHĐT" userId="ab9568c39a88b08a" providerId="LiveId" clId="{416BC8F9-2F47-4FA9-8F5D-98F43C904B66}" dt="2023-04-24T01:57:23.682" v="1621" actId="2696"/>
        <pc:sldMkLst>
          <pc:docMk/>
          <pc:sldMk cId="2447285934" sldId="2147473525"/>
        </pc:sldMkLst>
        <pc:spChg chg="mod">
          <ac:chgData name="Tường SKHĐT" userId="ab9568c39a88b08a" providerId="LiveId" clId="{416BC8F9-2F47-4FA9-8F5D-98F43C904B66}" dt="2023-04-24T01:56:01.233" v="1589" actId="20577"/>
          <ac:spMkLst>
            <pc:docMk/>
            <pc:sldMk cId="2447285934" sldId="2147473525"/>
            <ac:spMk id="50" creationId="{00000000-0000-0000-0000-000000000000}"/>
          </ac:spMkLst>
        </pc:spChg>
      </pc:sldChg>
      <pc:sldChg chg="del">
        <pc:chgData name="Tường SKHĐT" userId="ab9568c39a88b08a" providerId="LiveId" clId="{416BC8F9-2F47-4FA9-8F5D-98F43C904B66}" dt="2023-04-24T01:45:22.163" v="1218" actId="2696"/>
        <pc:sldMkLst>
          <pc:docMk/>
          <pc:sldMk cId="2589014937" sldId="2147473526"/>
        </pc:sldMkLst>
      </pc:sldChg>
      <pc:sldChg chg="delSp modSp mod">
        <pc:chgData name="Tường SKHĐT" userId="ab9568c39a88b08a" providerId="LiveId" clId="{416BC8F9-2F47-4FA9-8F5D-98F43C904B66}" dt="2023-04-24T01:42:09.384" v="1157" actId="1035"/>
        <pc:sldMkLst>
          <pc:docMk/>
          <pc:sldMk cId="269414345" sldId="2147473528"/>
        </pc:sldMkLst>
        <pc:spChg chg="mod">
          <ac:chgData name="Tường SKHĐT" userId="ab9568c39a88b08a" providerId="LiveId" clId="{416BC8F9-2F47-4FA9-8F5D-98F43C904B66}" dt="2023-04-24T01:28:21.064" v="901" actId="20577"/>
          <ac:spMkLst>
            <pc:docMk/>
            <pc:sldMk cId="269414345" sldId="2147473528"/>
            <ac:spMk id="4" creationId="{16D24723-A233-03FF-2329-1817AB93339D}"/>
          </ac:spMkLst>
        </pc:spChg>
        <pc:graphicFrameChg chg="del">
          <ac:chgData name="Tường SKHĐT" userId="ab9568c39a88b08a" providerId="LiveId" clId="{416BC8F9-2F47-4FA9-8F5D-98F43C904B66}" dt="2023-04-24T01:27:00.180" v="827"/>
          <ac:graphicFrameMkLst>
            <pc:docMk/>
            <pc:sldMk cId="269414345" sldId="2147473528"/>
            <ac:graphicFrameMk id="2" creationId="{6FB006E2-88E0-E16A-2965-D81C2239C641}"/>
          </ac:graphicFrameMkLst>
        </pc:graphicFrameChg>
        <pc:graphicFrameChg chg="mod modGraphic">
          <ac:chgData name="Tường SKHĐT" userId="ab9568c39a88b08a" providerId="LiveId" clId="{416BC8F9-2F47-4FA9-8F5D-98F43C904B66}" dt="2023-04-24T01:42:09.384" v="1157" actId="1035"/>
          <ac:graphicFrameMkLst>
            <pc:docMk/>
            <pc:sldMk cId="269414345" sldId="2147473528"/>
            <ac:graphicFrameMk id="3" creationId="{C8355AB6-B853-6AAF-AC29-F9812CBDC41E}"/>
          </ac:graphicFrameMkLst>
        </pc:graphicFrameChg>
        <pc:graphicFrameChg chg="modGraphic">
          <ac:chgData name="Tường SKHĐT" userId="ab9568c39a88b08a" providerId="LiveId" clId="{416BC8F9-2F47-4FA9-8F5D-98F43C904B66}" dt="2023-04-24T01:28:17.244" v="898" actId="20577"/>
          <ac:graphicFrameMkLst>
            <pc:docMk/>
            <pc:sldMk cId="269414345" sldId="2147473528"/>
            <ac:graphicFrameMk id="8" creationId="{B5E5335D-2EED-82AF-3A59-FAE8BB94EAE1}"/>
          </ac:graphicFrameMkLst>
        </pc:graphicFrameChg>
        <pc:graphicFrameChg chg="del modGraphic">
          <ac:chgData name="Tường SKHĐT" userId="ab9568c39a88b08a" providerId="LiveId" clId="{416BC8F9-2F47-4FA9-8F5D-98F43C904B66}" dt="2023-04-24T01:26:44.051" v="826" actId="21"/>
          <ac:graphicFrameMkLst>
            <pc:docMk/>
            <pc:sldMk cId="269414345" sldId="2147473528"/>
            <ac:graphicFrameMk id="12" creationId="{109A2457-F4BA-9DA8-51CF-3493BDD4EE8F}"/>
          </ac:graphicFrameMkLst>
        </pc:graphicFrameChg>
        <pc:picChg chg="del">
          <ac:chgData name="Tường SKHĐT" userId="ab9568c39a88b08a" providerId="LiveId" clId="{416BC8F9-2F47-4FA9-8F5D-98F43C904B66}" dt="2023-04-24T01:26:19.740" v="823" actId="21"/>
          <ac:picMkLst>
            <pc:docMk/>
            <pc:sldMk cId="269414345" sldId="2147473528"/>
            <ac:picMk id="10" creationId="{98D5E116-9007-7C05-526C-FE5AD4674A8B}"/>
          </ac:picMkLst>
        </pc:picChg>
      </pc:sldChg>
      <pc:sldChg chg="modSp mod">
        <pc:chgData name="Tường SKHĐT" userId="ab9568c39a88b08a" providerId="LiveId" clId="{416BC8F9-2F47-4FA9-8F5D-98F43C904B66}" dt="2023-04-24T00:17:36.079" v="12" actId="20577"/>
        <pc:sldMkLst>
          <pc:docMk/>
          <pc:sldMk cId="1079553522" sldId="2147473530"/>
        </pc:sldMkLst>
        <pc:spChg chg="mod">
          <ac:chgData name="Tường SKHĐT" userId="ab9568c39a88b08a" providerId="LiveId" clId="{416BC8F9-2F47-4FA9-8F5D-98F43C904B66}" dt="2023-04-24T00:17:36.079" v="12" actId="20577"/>
          <ac:spMkLst>
            <pc:docMk/>
            <pc:sldMk cId="1079553522" sldId="2147473530"/>
            <ac:spMk id="4" creationId="{A8ED73C0-6DEB-F036-A81D-A84B4FA62951}"/>
          </ac:spMkLst>
        </pc:spChg>
      </pc:sldChg>
      <pc:sldChg chg="delSp modSp del mod">
        <pc:chgData name="Tường SKHĐT" userId="ab9568c39a88b08a" providerId="LiveId" clId="{416BC8F9-2F47-4FA9-8F5D-98F43C904B66}" dt="2023-04-24T01:12:14.169" v="629" actId="2696"/>
        <pc:sldMkLst>
          <pc:docMk/>
          <pc:sldMk cId="3856454999" sldId="2147473538"/>
        </pc:sldMkLst>
        <pc:graphicFrameChg chg="del">
          <ac:chgData name="Tường SKHĐT" userId="ab9568c39a88b08a" providerId="LiveId" clId="{416BC8F9-2F47-4FA9-8F5D-98F43C904B66}" dt="2023-04-24T01:10:59.988" v="622" actId="21"/>
          <ac:graphicFrameMkLst>
            <pc:docMk/>
            <pc:sldMk cId="3856454999" sldId="2147473538"/>
            <ac:graphicFrameMk id="2" creationId="{EEB44773-BF1C-4685-F3FA-DE414C0B2FAD}"/>
          </ac:graphicFrameMkLst>
        </pc:graphicFrameChg>
        <pc:graphicFrameChg chg="mod">
          <ac:chgData name="Tường SKHĐT" userId="ab9568c39a88b08a" providerId="LiveId" clId="{416BC8F9-2F47-4FA9-8F5D-98F43C904B66}" dt="2023-04-24T01:11:25.595" v="626" actId="14100"/>
          <ac:graphicFrameMkLst>
            <pc:docMk/>
            <pc:sldMk cId="3856454999" sldId="2147473538"/>
            <ac:graphicFrameMk id="3" creationId="{1A8137C9-D7A2-A91B-5301-CC2B9190FF1F}"/>
          </ac:graphicFrameMkLst>
        </pc:graphicFrameChg>
      </pc:sldChg>
      <pc:sldChg chg="modSp mod">
        <pc:chgData name="Tường SKHĐT" userId="ab9568c39a88b08a" providerId="LiveId" clId="{416BC8F9-2F47-4FA9-8F5D-98F43C904B66}" dt="2023-04-24T01:22:19.443" v="796" actId="207"/>
        <pc:sldMkLst>
          <pc:docMk/>
          <pc:sldMk cId="3246394076" sldId="2147473540"/>
        </pc:sldMkLst>
        <pc:spChg chg="mod">
          <ac:chgData name="Tường SKHĐT" userId="ab9568c39a88b08a" providerId="LiveId" clId="{416BC8F9-2F47-4FA9-8F5D-98F43C904B66}" dt="2023-04-24T01:12:42.924" v="632" actId="20577"/>
          <ac:spMkLst>
            <pc:docMk/>
            <pc:sldMk cId="3246394076" sldId="2147473540"/>
            <ac:spMk id="4" creationId="{16D24723-A233-03FF-2329-1817AB93339D}"/>
          </ac:spMkLst>
        </pc:spChg>
        <pc:spChg chg="mod">
          <ac:chgData name="Tường SKHĐT" userId="ab9568c39a88b08a" providerId="LiveId" clId="{416BC8F9-2F47-4FA9-8F5D-98F43C904B66}" dt="2023-04-24T01:22:19.443" v="796" actId="207"/>
          <ac:spMkLst>
            <pc:docMk/>
            <pc:sldMk cId="3246394076" sldId="2147473540"/>
            <ac:spMk id="25" creationId="{01DC26C3-E6F4-C27A-8624-3A65D81B6008}"/>
          </ac:spMkLst>
        </pc:spChg>
        <pc:graphicFrameChg chg="modGraphic">
          <ac:chgData name="Tường SKHĐT" userId="ab9568c39a88b08a" providerId="LiveId" clId="{416BC8F9-2F47-4FA9-8F5D-98F43C904B66}" dt="2023-04-24T01:22:16.078" v="795" actId="207"/>
          <ac:graphicFrameMkLst>
            <pc:docMk/>
            <pc:sldMk cId="3246394076" sldId="2147473540"/>
            <ac:graphicFrameMk id="8" creationId="{B5E5335D-2EED-82AF-3A59-FAE8BB94EAE1}"/>
          </ac:graphicFrameMkLst>
        </pc:graphicFrameChg>
      </pc:sldChg>
      <pc:sldChg chg="delSp mod">
        <pc:chgData name="Tường SKHĐT" userId="ab9568c39a88b08a" providerId="LiveId" clId="{416BC8F9-2F47-4FA9-8F5D-98F43C904B66}" dt="2023-04-24T01:45:56.262" v="1219" actId="21"/>
        <pc:sldMkLst>
          <pc:docMk/>
          <pc:sldMk cId="1893164686" sldId="2147473543"/>
        </pc:sldMkLst>
        <pc:picChg chg="del">
          <ac:chgData name="Tường SKHĐT" userId="ab9568c39a88b08a" providerId="LiveId" clId="{416BC8F9-2F47-4FA9-8F5D-98F43C904B66}" dt="2023-04-24T01:45:56.262" v="1219" actId="21"/>
          <ac:picMkLst>
            <pc:docMk/>
            <pc:sldMk cId="1893164686" sldId="2147473543"/>
            <ac:picMk id="5" creationId="{5CD19AE0-0900-8829-8BCC-145B3964A8CD}"/>
          </ac:picMkLst>
        </pc:picChg>
      </pc:sldChg>
      <pc:sldChg chg="del">
        <pc:chgData name="Tường SKHĐT" userId="ab9568c39a88b08a" providerId="LiveId" clId="{416BC8F9-2F47-4FA9-8F5D-98F43C904B66}" dt="2023-04-24T01:40:01.403" v="1131" actId="2696"/>
        <pc:sldMkLst>
          <pc:docMk/>
          <pc:sldMk cId="4130804454" sldId="2147473544"/>
        </pc:sldMkLst>
      </pc:sldChg>
      <pc:sldChg chg="del">
        <pc:chgData name="Tường SKHĐT" userId="ab9568c39a88b08a" providerId="LiveId" clId="{416BC8F9-2F47-4FA9-8F5D-98F43C904B66}" dt="2023-04-24T01:33:58.369" v="1099" actId="2696"/>
        <pc:sldMkLst>
          <pc:docMk/>
          <pc:sldMk cId="1786243308" sldId="2147473545"/>
        </pc:sldMkLst>
      </pc:sldChg>
      <pc:sldChg chg="del">
        <pc:chgData name="Tường SKHĐT" userId="ab9568c39a88b08a" providerId="LiveId" clId="{416BC8F9-2F47-4FA9-8F5D-98F43C904B66}" dt="2023-04-24T01:39:58.724" v="1130" actId="2696"/>
        <pc:sldMkLst>
          <pc:docMk/>
          <pc:sldMk cId="1899568227" sldId="2147473546"/>
        </pc:sldMkLst>
      </pc:sldChg>
      <pc:sldChg chg="delSp modSp mod">
        <pc:chgData name="Tường SKHĐT" userId="ab9568c39a88b08a" providerId="LiveId" clId="{416BC8F9-2F47-4FA9-8F5D-98F43C904B66}" dt="2023-04-24T01:40:50.457" v="1134" actId="1076"/>
        <pc:sldMkLst>
          <pc:docMk/>
          <pc:sldMk cId="3035689650" sldId="2147473547"/>
        </pc:sldMkLst>
        <pc:spChg chg="mod">
          <ac:chgData name="Tường SKHĐT" userId="ab9568c39a88b08a" providerId="LiveId" clId="{416BC8F9-2F47-4FA9-8F5D-98F43C904B66}" dt="2023-04-24T00:18:09.115" v="16" actId="20577"/>
          <ac:spMkLst>
            <pc:docMk/>
            <pc:sldMk cId="3035689650" sldId="2147473547"/>
            <ac:spMk id="4" creationId="{00000000-0000-0000-0000-000000000000}"/>
          </ac:spMkLst>
        </pc:spChg>
        <pc:graphicFrameChg chg="del">
          <ac:chgData name="Tường SKHĐT" userId="ab9568c39a88b08a" providerId="LiveId" clId="{416BC8F9-2F47-4FA9-8F5D-98F43C904B66}" dt="2023-04-24T00:58:06.671" v="351" actId="21"/>
          <ac:graphicFrameMkLst>
            <pc:docMk/>
            <pc:sldMk cId="3035689650" sldId="2147473547"/>
            <ac:graphicFrameMk id="2" creationId="{FAC20BB5-6336-83D2-00B5-08BE62939652}"/>
          </ac:graphicFrameMkLst>
        </pc:graphicFrameChg>
        <pc:graphicFrameChg chg="mod">
          <ac:chgData name="Tường SKHĐT" userId="ab9568c39a88b08a" providerId="LiveId" clId="{416BC8F9-2F47-4FA9-8F5D-98F43C904B66}" dt="2023-04-24T01:40:50.457" v="1134" actId="1076"/>
          <ac:graphicFrameMkLst>
            <pc:docMk/>
            <pc:sldMk cId="3035689650" sldId="2147473547"/>
            <ac:graphicFrameMk id="3" creationId="{79A1AC0B-E51E-1426-F5FF-B6E97657AAF9}"/>
          </ac:graphicFrameMkLst>
        </pc:graphicFrameChg>
      </pc:sldChg>
      <pc:sldChg chg="delSp modSp del mod">
        <pc:chgData name="Tường SKHĐT" userId="ab9568c39a88b08a" providerId="LiveId" clId="{416BC8F9-2F47-4FA9-8F5D-98F43C904B66}" dt="2023-04-24T01:18:30.014" v="721" actId="2696"/>
        <pc:sldMkLst>
          <pc:docMk/>
          <pc:sldMk cId="537512070" sldId="2147473549"/>
        </pc:sldMkLst>
        <pc:spChg chg="mod">
          <ac:chgData name="Tường SKHĐT" userId="ab9568c39a88b08a" providerId="LiveId" clId="{416BC8F9-2F47-4FA9-8F5D-98F43C904B66}" dt="2023-04-24T01:13:18.920" v="638" actId="20577"/>
          <ac:spMkLst>
            <pc:docMk/>
            <pc:sldMk cId="537512070" sldId="2147473549"/>
            <ac:spMk id="4" creationId="{16D24723-A233-03FF-2329-1817AB93339D}"/>
          </ac:spMkLst>
        </pc:spChg>
        <pc:graphicFrameChg chg="del">
          <ac:chgData name="Tường SKHĐT" userId="ab9568c39a88b08a" providerId="LiveId" clId="{416BC8F9-2F47-4FA9-8F5D-98F43C904B66}" dt="2023-04-24T01:13:29.828" v="640" actId="21"/>
          <ac:graphicFrameMkLst>
            <pc:docMk/>
            <pc:sldMk cId="537512070" sldId="2147473549"/>
            <ac:graphicFrameMk id="2" creationId="{18E06811-42F8-437B-CF82-5FBE237A0396}"/>
          </ac:graphicFrameMkLst>
        </pc:graphicFrameChg>
        <pc:graphicFrameChg chg="mod">
          <ac:chgData name="Tường SKHĐT" userId="ab9568c39a88b08a" providerId="LiveId" clId="{416BC8F9-2F47-4FA9-8F5D-98F43C904B66}" dt="2023-04-24T01:15:05.473" v="688" actId="14100"/>
          <ac:graphicFrameMkLst>
            <pc:docMk/>
            <pc:sldMk cId="537512070" sldId="2147473549"/>
            <ac:graphicFrameMk id="5" creationId="{DD030B43-51B5-8FC9-44DE-72AEBD5DB9D4}"/>
          </ac:graphicFrameMkLst>
        </pc:graphicFrameChg>
        <pc:graphicFrameChg chg="mod modGraphic">
          <ac:chgData name="Tường SKHĐT" userId="ab9568c39a88b08a" providerId="LiveId" clId="{416BC8F9-2F47-4FA9-8F5D-98F43C904B66}" dt="2023-04-24T01:14:25.536" v="662" actId="20577"/>
          <ac:graphicFrameMkLst>
            <pc:docMk/>
            <pc:sldMk cId="537512070" sldId="2147473549"/>
            <ac:graphicFrameMk id="8" creationId="{B5E5335D-2EED-82AF-3A59-FAE8BB94EAE1}"/>
          </ac:graphicFrameMkLst>
        </pc:graphicFrameChg>
        <pc:cxnChg chg="mod">
          <ac:chgData name="Tường SKHĐT" userId="ab9568c39a88b08a" providerId="LiveId" clId="{416BC8F9-2F47-4FA9-8F5D-98F43C904B66}" dt="2023-04-24T01:13:22.800" v="639" actId="14100"/>
          <ac:cxnSpMkLst>
            <pc:docMk/>
            <pc:sldMk cId="537512070" sldId="2147473549"/>
            <ac:cxnSpMk id="6" creationId="{FF705920-E1B4-B4D0-9EA4-A27AA5761577}"/>
          </ac:cxnSpMkLst>
        </pc:cxnChg>
      </pc:sldChg>
      <pc:sldChg chg="del">
        <pc:chgData name="Tường SKHĐT" userId="ab9568c39a88b08a" providerId="LiveId" clId="{416BC8F9-2F47-4FA9-8F5D-98F43C904B66}" dt="2023-04-24T01:57:57.612" v="1622" actId="2696"/>
        <pc:sldMkLst>
          <pc:docMk/>
          <pc:sldMk cId="3036134749" sldId="2147473551"/>
        </pc:sldMkLst>
      </pc:sldChg>
      <pc:sldChg chg="modSp mod">
        <pc:chgData name="Tường SKHĐT" userId="ab9568c39a88b08a" providerId="LiveId" clId="{416BC8F9-2F47-4FA9-8F5D-98F43C904B66}" dt="2023-04-24T01:42:31.839" v="1161" actId="20577"/>
        <pc:sldMkLst>
          <pc:docMk/>
          <pc:sldMk cId="580705254" sldId="2147473552"/>
        </pc:sldMkLst>
        <pc:spChg chg="mod">
          <ac:chgData name="Tường SKHĐT" userId="ab9568c39a88b08a" providerId="LiveId" clId="{416BC8F9-2F47-4FA9-8F5D-98F43C904B66}" dt="2023-04-24T01:42:31.839" v="1161" actId="20577"/>
          <ac:spMkLst>
            <pc:docMk/>
            <pc:sldMk cId="580705254" sldId="2147473552"/>
            <ac:spMk id="4" creationId="{16D24723-A233-03FF-2329-1817AB93339D}"/>
          </ac:spMkLst>
        </pc:spChg>
        <pc:graphicFrameChg chg="mod modGraphic">
          <ac:chgData name="Tường SKHĐT" userId="ab9568c39a88b08a" providerId="LiveId" clId="{416BC8F9-2F47-4FA9-8F5D-98F43C904B66}" dt="2023-04-24T01:42:29.247" v="1158" actId="1076"/>
          <ac:graphicFrameMkLst>
            <pc:docMk/>
            <pc:sldMk cId="580705254" sldId="2147473552"/>
            <ac:graphicFrameMk id="8" creationId="{B5E5335D-2EED-82AF-3A59-FAE8BB94EAE1}"/>
          </ac:graphicFrameMkLst>
        </pc:graphicFrameChg>
      </pc:sldChg>
      <pc:sldChg chg="del">
        <pc:chgData name="Tường SKHĐT" userId="ab9568c39a88b08a" providerId="LiveId" clId="{416BC8F9-2F47-4FA9-8F5D-98F43C904B66}" dt="2023-04-24T00:32:54.605" v="350" actId="2696"/>
        <pc:sldMkLst>
          <pc:docMk/>
          <pc:sldMk cId="2489976923" sldId="2147473553"/>
        </pc:sldMkLst>
      </pc:sldChg>
      <pc:sldChg chg="del">
        <pc:chgData name="Tường SKHĐT" userId="ab9568c39a88b08a" providerId="LiveId" clId="{416BC8F9-2F47-4FA9-8F5D-98F43C904B66}" dt="2023-04-24T00:18:01.469" v="13" actId="2696"/>
        <pc:sldMkLst>
          <pc:docMk/>
          <pc:sldMk cId="1030866050" sldId="2147473554"/>
        </pc:sldMkLst>
      </pc:sldChg>
      <pc:sldChg chg="del">
        <pc:chgData name="Tường SKHĐT" userId="ab9568c39a88b08a" providerId="LiveId" clId="{416BC8F9-2F47-4FA9-8F5D-98F43C904B66}" dt="2023-04-24T00:18:01.469" v="13" actId="2696"/>
        <pc:sldMkLst>
          <pc:docMk/>
          <pc:sldMk cId="2731780743" sldId="2147473555"/>
        </pc:sldMkLst>
      </pc:sldChg>
      <pc:sldChg chg="del">
        <pc:chgData name="Tường SKHĐT" userId="ab9568c39a88b08a" providerId="LiveId" clId="{416BC8F9-2F47-4FA9-8F5D-98F43C904B66}" dt="2023-04-24T00:18:01.469" v="13" actId="2696"/>
        <pc:sldMkLst>
          <pc:docMk/>
          <pc:sldMk cId="3432425557" sldId="2147473556"/>
        </pc:sldMkLst>
      </pc:sldChg>
      <pc:sldChg chg="del">
        <pc:chgData name="Tường SKHĐT" userId="ab9568c39a88b08a" providerId="LiveId" clId="{416BC8F9-2F47-4FA9-8F5D-98F43C904B66}" dt="2023-04-24T00:18:01.469" v="13" actId="2696"/>
        <pc:sldMkLst>
          <pc:docMk/>
          <pc:sldMk cId="3575124141" sldId="2147473557"/>
        </pc:sldMkLst>
      </pc:sldChg>
      <pc:sldChg chg="del">
        <pc:chgData name="Tường SKHĐT" userId="ab9568c39a88b08a" providerId="LiveId" clId="{416BC8F9-2F47-4FA9-8F5D-98F43C904B66}" dt="2023-04-24T00:18:01.469" v="13" actId="2696"/>
        <pc:sldMkLst>
          <pc:docMk/>
          <pc:sldMk cId="662834304" sldId="2147473559"/>
        </pc:sldMkLst>
      </pc:sldChg>
      <pc:sldChg chg="del">
        <pc:chgData name="Tường SKHĐT" userId="ab9568c39a88b08a" providerId="LiveId" clId="{416BC8F9-2F47-4FA9-8F5D-98F43C904B66}" dt="2023-04-24T00:18:01.469" v="13" actId="2696"/>
        <pc:sldMkLst>
          <pc:docMk/>
          <pc:sldMk cId="1557921189" sldId="2147473560"/>
        </pc:sldMkLst>
      </pc:sldChg>
      <pc:sldChg chg="del">
        <pc:chgData name="Tường SKHĐT" userId="ab9568c39a88b08a" providerId="LiveId" clId="{416BC8F9-2F47-4FA9-8F5D-98F43C904B66}" dt="2023-04-24T00:18:01.469" v="13" actId="2696"/>
        <pc:sldMkLst>
          <pc:docMk/>
          <pc:sldMk cId="3875002478" sldId="2147473561"/>
        </pc:sldMkLst>
      </pc:sldChg>
      <pc:sldChg chg="del">
        <pc:chgData name="Tường SKHĐT" userId="ab9568c39a88b08a" providerId="LiveId" clId="{416BC8F9-2F47-4FA9-8F5D-98F43C904B66}" dt="2023-04-24T00:18:01.469" v="13" actId="2696"/>
        <pc:sldMkLst>
          <pc:docMk/>
          <pc:sldMk cId="565017184" sldId="2147473562"/>
        </pc:sldMkLst>
      </pc:sldChg>
      <pc:sldChg chg="del">
        <pc:chgData name="Tường SKHĐT" userId="ab9568c39a88b08a" providerId="LiveId" clId="{416BC8F9-2F47-4FA9-8F5D-98F43C904B66}" dt="2023-04-24T01:41:20.677" v="1135" actId="2696"/>
        <pc:sldMkLst>
          <pc:docMk/>
          <pc:sldMk cId="385818067" sldId="2147473563"/>
        </pc:sldMkLst>
      </pc:sldChg>
      <pc:sldChg chg="addSp delSp modSp mod">
        <pc:chgData name="Tường SKHĐT" userId="ab9568c39a88b08a" providerId="LiveId" clId="{416BC8F9-2F47-4FA9-8F5D-98F43C904B66}" dt="2023-04-24T01:25:39.411" v="822" actId="20577"/>
        <pc:sldMkLst>
          <pc:docMk/>
          <pc:sldMk cId="996757595" sldId="2147473564"/>
        </pc:sldMkLst>
        <pc:spChg chg="mod">
          <ac:chgData name="Tường SKHĐT" userId="ab9568c39a88b08a" providerId="LiveId" clId="{416BC8F9-2F47-4FA9-8F5D-98F43C904B66}" dt="2023-04-24T01:19:24.595" v="726" actId="20577"/>
          <ac:spMkLst>
            <pc:docMk/>
            <pc:sldMk cId="996757595" sldId="2147473564"/>
            <ac:spMk id="4" creationId="{16D24723-A233-03FF-2329-1817AB93339D}"/>
          </ac:spMkLst>
        </pc:spChg>
        <pc:graphicFrameChg chg="mod modGraphic">
          <ac:chgData name="Tường SKHĐT" userId="ab9568c39a88b08a" providerId="LiveId" clId="{416BC8F9-2F47-4FA9-8F5D-98F43C904B66}" dt="2023-04-24T01:25:39.411" v="822" actId="20577"/>
          <ac:graphicFrameMkLst>
            <pc:docMk/>
            <pc:sldMk cId="996757595" sldId="2147473564"/>
            <ac:graphicFrameMk id="8" creationId="{B5E5335D-2EED-82AF-3A59-FAE8BB94EAE1}"/>
          </ac:graphicFrameMkLst>
        </pc:graphicFrameChg>
        <pc:picChg chg="mod">
          <ac:chgData name="Tường SKHĐT" userId="ab9568c39a88b08a" providerId="LiveId" clId="{416BC8F9-2F47-4FA9-8F5D-98F43C904B66}" dt="2023-04-24T01:19:43.648" v="731" actId="14100"/>
          <ac:picMkLst>
            <pc:docMk/>
            <pc:sldMk cId="996757595" sldId="2147473564"/>
            <ac:picMk id="2" creationId="{D332573F-550E-B385-BE21-241ECFBBB573}"/>
          </ac:picMkLst>
        </pc:picChg>
        <pc:picChg chg="add mod">
          <ac:chgData name="Tường SKHĐT" userId="ab9568c39a88b08a" providerId="LiveId" clId="{416BC8F9-2F47-4FA9-8F5D-98F43C904B66}" dt="2023-04-24T01:19:40.948" v="730" actId="1076"/>
          <ac:picMkLst>
            <pc:docMk/>
            <pc:sldMk cId="996757595" sldId="2147473564"/>
            <ac:picMk id="3" creationId="{9B28E23C-E140-A1AD-5D04-A5E28F9A3583}"/>
          </ac:picMkLst>
        </pc:picChg>
        <pc:picChg chg="del">
          <ac:chgData name="Tường SKHĐT" userId="ab9568c39a88b08a" providerId="LiveId" clId="{416BC8F9-2F47-4FA9-8F5D-98F43C904B66}" dt="2023-04-24T01:19:34.236" v="727" actId="21"/>
          <ac:picMkLst>
            <pc:docMk/>
            <pc:sldMk cId="996757595" sldId="2147473564"/>
            <ac:picMk id="5" creationId="{3CDF5BD5-9FC9-82BF-1AB2-3E88F876FDF7}"/>
          </ac:picMkLst>
        </pc:picChg>
      </pc:sldChg>
      <pc:sldChg chg="del">
        <pc:chgData name="Tường SKHĐT" userId="ab9568c39a88b08a" providerId="LiveId" clId="{416BC8F9-2F47-4FA9-8F5D-98F43C904B66}" dt="2023-04-24T00:18:01.469" v="13" actId="2696"/>
        <pc:sldMkLst>
          <pc:docMk/>
          <pc:sldMk cId="3515259894" sldId="2147473565"/>
        </pc:sldMkLst>
      </pc:sldChg>
      <pc:sldChg chg="del">
        <pc:chgData name="Tường SKHĐT" userId="ab9568c39a88b08a" providerId="LiveId" clId="{416BC8F9-2F47-4FA9-8F5D-98F43C904B66}" dt="2023-04-24T01:48:15.886" v="1350" actId="2696"/>
        <pc:sldMkLst>
          <pc:docMk/>
          <pc:sldMk cId="1157287981" sldId="2147473566"/>
        </pc:sldMkLst>
      </pc:sldChg>
      <pc:sldChg chg="del">
        <pc:chgData name="Tường SKHĐT" userId="ab9568c39a88b08a" providerId="LiveId" clId="{416BC8F9-2F47-4FA9-8F5D-98F43C904B66}" dt="2023-04-24T00:18:01.469" v="13" actId="2696"/>
        <pc:sldMkLst>
          <pc:docMk/>
          <pc:sldMk cId="2301901717" sldId="2147473567"/>
        </pc:sldMkLst>
      </pc:sldChg>
      <pc:sldChg chg="del">
        <pc:chgData name="Tường SKHĐT" userId="ab9568c39a88b08a" providerId="LiveId" clId="{416BC8F9-2F47-4FA9-8F5D-98F43C904B66}" dt="2023-04-24T00:18:01.469" v="13" actId="2696"/>
        <pc:sldMkLst>
          <pc:docMk/>
          <pc:sldMk cId="1894781878" sldId="2147473569"/>
        </pc:sldMkLst>
      </pc:sldChg>
      <pc:sldChg chg="del">
        <pc:chgData name="Tường SKHĐT" userId="ab9568c39a88b08a" providerId="LiveId" clId="{416BC8F9-2F47-4FA9-8F5D-98F43C904B66}" dt="2023-04-24T00:18:01.469" v="13" actId="2696"/>
        <pc:sldMkLst>
          <pc:docMk/>
          <pc:sldMk cId="2574313621" sldId="2147473570"/>
        </pc:sldMkLst>
      </pc:sldChg>
      <pc:sldChg chg="del">
        <pc:chgData name="Tường SKHĐT" userId="ab9568c39a88b08a" providerId="LiveId" clId="{416BC8F9-2F47-4FA9-8F5D-98F43C904B66}" dt="2023-04-24T00:18:01.469" v="13" actId="2696"/>
        <pc:sldMkLst>
          <pc:docMk/>
          <pc:sldMk cId="1471350114" sldId="2147473571"/>
        </pc:sldMkLst>
      </pc:sldChg>
      <pc:sldChg chg="del">
        <pc:chgData name="Tường SKHĐT" userId="ab9568c39a88b08a" providerId="LiveId" clId="{416BC8F9-2F47-4FA9-8F5D-98F43C904B66}" dt="2023-04-24T00:18:01.469" v="13" actId="2696"/>
        <pc:sldMkLst>
          <pc:docMk/>
          <pc:sldMk cId="2382640443" sldId="2147473573"/>
        </pc:sldMkLst>
      </pc:sldChg>
      <pc:sldChg chg="modSp mod">
        <pc:chgData name="Tường SKHĐT" userId="ab9568c39a88b08a" providerId="LiveId" clId="{416BC8F9-2F47-4FA9-8F5D-98F43C904B66}" dt="2023-04-24T01:58:18.871" v="1652" actId="20577"/>
        <pc:sldMkLst>
          <pc:docMk/>
          <pc:sldMk cId="1783682046" sldId="2147473574"/>
        </pc:sldMkLst>
        <pc:spChg chg="mod">
          <ac:chgData name="Tường SKHĐT" userId="ab9568c39a88b08a" providerId="LiveId" clId="{416BC8F9-2F47-4FA9-8F5D-98F43C904B66}" dt="2023-04-24T01:55:02.954" v="1567" actId="20577"/>
          <ac:spMkLst>
            <pc:docMk/>
            <pc:sldMk cId="1783682046" sldId="2147473574"/>
            <ac:spMk id="4" creationId="{16D24723-A233-03FF-2329-1817AB93339D}"/>
          </ac:spMkLst>
        </pc:spChg>
        <pc:graphicFrameChg chg="modGraphic">
          <ac:chgData name="Tường SKHĐT" userId="ab9568c39a88b08a" providerId="LiveId" clId="{416BC8F9-2F47-4FA9-8F5D-98F43C904B66}" dt="2023-04-24T01:58:18.871" v="1652" actId="20577"/>
          <ac:graphicFrameMkLst>
            <pc:docMk/>
            <pc:sldMk cId="1783682046" sldId="2147473574"/>
            <ac:graphicFrameMk id="8" creationId="{B5E5335D-2EED-82AF-3A59-FAE8BB94EAE1}"/>
          </ac:graphicFrameMkLst>
        </pc:graphicFrameChg>
      </pc:sldChg>
      <pc:sldChg chg="delSp modSp add mod">
        <pc:chgData name="Tường SKHĐT" userId="ab9568c39a88b08a" providerId="LiveId" clId="{416BC8F9-2F47-4FA9-8F5D-98F43C904B66}" dt="2023-04-24T01:08:00.316" v="616" actId="20577"/>
        <pc:sldMkLst>
          <pc:docMk/>
          <pc:sldMk cId="924787942" sldId="2147473575"/>
        </pc:sldMkLst>
        <pc:spChg chg="mod">
          <ac:chgData name="Tường SKHĐT" userId="ab9568c39a88b08a" providerId="LiveId" clId="{416BC8F9-2F47-4FA9-8F5D-98F43C904B66}" dt="2023-04-24T01:03:55.737" v="453" actId="20577"/>
          <ac:spMkLst>
            <pc:docMk/>
            <pc:sldMk cId="924787942" sldId="2147473575"/>
            <ac:spMk id="4" creationId="{16D24723-A233-03FF-2329-1817AB93339D}"/>
          </ac:spMkLst>
        </pc:spChg>
        <pc:graphicFrameChg chg="mod modGraphic">
          <ac:chgData name="Tường SKHĐT" userId="ab9568c39a88b08a" providerId="LiveId" clId="{416BC8F9-2F47-4FA9-8F5D-98F43C904B66}" dt="2023-04-24T01:08:00.316" v="616" actId="20577"/>
          <ac:graphicFrameMkLst>
            <pc:docMk/>
            <pc:sldMk cId="924787942" sldId="2147473575"/>
            <ac:graphicFrameMk id="8" creationId="{B5E5335D-2EED-82AF-3A59-FAE8BB94EAE1}"/>
          </ac:graphicFrameMkLst>
        </pc:graphicFrameChg>
        <pc:picChg chg="del">
          <ac:chgData name="Tường SKHĐT" userId="ab9568c39a88b08a" providerId="LiveId" clId="{416BC8F9-2F47-4FA9-8F5D-98F43C904B66}" dt="2023-04-24T01:02:20.072" v="431" actId="21"/>
          <ac:picMkLst>
            <pc:docMk/>
            <pc:sldMk cId="924787942" sldId="2147473575"/>
            <ac:picMk id="2" creationId="{4D464A2C-A35A-0F4C-1B21-00ECD1B61550}"/>
          </ac:picMkLst>
        </pc:picChg>
      </pc:sldChg>
      <pc:sldChg chg="modSp add del mod">
        <pc:chgData name="Tường SKHĐT" userId="ab9568c39a88b08a" providerId="LiveId" clId="{416BC8F9-2F47-4FA9-8F5D-98F43C904B66}" dt="2023-04-24T00:31:10.712" v="336" actId="2696"/>
        <pc:sldMkLst>
          <pc:docMk/>
          <pc:sldMk cId="2475077664" sldId="2147473575"/>
        </pc:sldMkLst>
        <pc:spChg chg="mod">
          <ac:chgData name="Tường SKHĐT" userId="ab9568c39a88b08a" providerId="LiveId" clId="{416BC8F9-2F47-4FA9-8F5D-98F43C904B66}" dt="2023-04-24T00:24:26.814" v="196" actId="20577"/>
          <ac:spMkLst>
            <pc:docMk/>
            <pc:sldMk cId="2475077664" sldId="2147473575"/>
            <ac:spMk id="3" creationId="{D56CE58D-FB5F-1D10-4BAF-E7B0E8BB9294}"/>
          </ac:spMkLst>
        </pc:spChg>
        <pc:cxnChg chg="mod">
          <ac:chgData name="Tường SKHĐT" userId="ab9568c39a88b08a" providerId="LiveId" clId="{416BC8F9-2F47-4FA9-8F5D-98F43C904B66}" dt="2023-04-24T00:24:30.483" v="197" actId="14100"/>
          <ac:cxnSpMkLst>
            <pc:docMk/>
            <pc:sldMk cId="2475077664" sldId="2147473575"/>
            <ac:cxnSpMk id="6" creationId="{AF18982B-1EB8-38FB-804F-68378B0CB0EE}"/>
          </ac:cxnSpMkLst>
        </pc:cxnChg>
      </pc:sldChg>
      <pc:sldChg chg="add del">
        <pc:chgData name="Tường SKHĐT" userId="ab9568c39a88b08a" providerId="LiveId" clId="{416BC8F9-2F47-4FA9-8F5D-98F43C904B66}" dt="2023-04-24T00:26:08.544" v="216" actId="2696"/>
        <pc:sldMkLst>
          <pc:docMk/>
          <pc:sldMk cId="3359989239" sldId="2147473576"/>
        </pc:sldMkLst>
      </pc:sldChg>
      <pc:sldChg chg="delSp modSp add mod">
        <pc:chgData name="Tường SKHĐT" userId="ab9568c39a88b08a" providerId="LiveId" clId="{416BC8F9-2F47-4FA9-8F5D-98F43C904B66}" dt="2023-04-26T04:04:03.116" v="1936" actId="20577"/>
        <pc:sldMkLst>
          <pc:docMk/>
          <pc:sldMk cId="3521483047" sldId="2147473576"/>
        </pc:sldMkLst>
        <pc:spChg chg="mod">
          <ac:chgData name="Tường SKHĐT" userId="ab9568c39a88b08a" providerId="LiveId" clId="{416BC8F9-2F47-4FA9-8F5D-98F43C904B66}" dt="2023-04-24T01:42:44.801" v="1164" actId="20577"/>
          <ac:spMkLst>
            <pc:docMk/>
            <pc:sldMk cId="3521483047" sldId="2147473576"/>
            <ac:spMk id="4" creationId="{16D24723-A233-03FF-2329-1817AB93339D}"/>
          </ac:spMkLst>
        </pc:spChg>
        <pc:spChg chg="mod">
          <ac:chgData name="Tường SKHĐT" userId="ab9568c39a88b08a" providerId="LiveId" clId="{416BC8F9-2F47-4FA9-8F5D-98F43C904B66}" dt="2023-04-26T04:04:03.116" v="1936" actId="20577"/>
          <ac:spMkLst>
            <pc:docMk/>
            <pc:sldMk cId="3521483047" sldId="2147473576"/>
            <ac:spMk id="25" creationId="{01DC26C3-E6F4-C27A-8624-3A65D81B6008}"/>
          </ac:spMkLst>
        </pc:spChg>
        <pc:graphicFrameChg chg="del mod">
          <ac:chgData name="Tường SKHĐT" userId="ab9568c39a88b08a" providerId="LiveId" clId="{416BC8F9-2F47-4FA9-8F5D-98F43C904B66}" dt="2023-04-26T04:01:08.189" v="1778" actId="21"/>
          <ac:graphicFrameMkLst>
            <pc:docMk/>
            <pc:sldMk cId="3521483047" sldId="2147473576"/>
            <ac:graphicFrameMk id="2" creationId="{F0EAC177-1713-A83E-D91A-02F48E3F159F}"/>
          </ac:graphicFrameMkLst>
        </pc:graphicFrameChg>
        <pc:graphicFrameChg chg="mod">
          <ac:chgData name="Tường SKHĐT" userId="ab9568c39a88b08a" providerId="LiveId" clId="{416BC8F9-2F47-4FA9-8F5D-98F43C904B66}" dt="2023-04-26T04:02:55.350" v="1783" actId="1076"/>
          <ac:graphicFrameMkLst>
            <pc:docMk/>
            <pc:sldMk cId="3521483047" sldId="2147473576"/>
            <ac:graphicFrameMk id="3" creationId="{1A8137C9-D7A2-A91B-5301-CC2B9190FF1F}"/>
          </ac:graphicFrameMkLst>
        </pc:graphicFrameChg>
      </pc:sldChg>
      <pc:sldChg chg="addSp delSp modSp add mod">
        <pc:chgData name="Tường SKHĐT" userId="ab9568c39a88b08a" providerId="LiveId" clId="{416BC8F9-2F47-4FA9-8F5D-98F43C904B66}" dt="2023-04-24T02:07:02.880" v="1775" actId="20577"/>
        <pc:sldMkLst>
          <pc:docMk/>
          <pc:sldMk cId="3139637778" sldId="2147473595"/>
        </pc:sldMkLst>
        <pc:spChg chg="add mod">
          <ac:chgData name="Tường SKHĐT" userId="ab9568c39a88b08a" providerId="LiveId" clId="{416BC8F9-2F47-4FA9-8F5D-98F43C904B66}" dt="2023-04-24T02:03:09.873" v="1708"/>
          <ac:spMkLst>
            <pc:docMk/>
            <pc:sldMk cId="3139637778" sldId="2147473595"/>
            <ac:spMk id="2" creationId="{F9FD27AF-4E01-77E9-3CC9-56F324CD8F16}"/>
          </ac:spMkLst>
        </pc:spChg>
        <pc:spChg chg="add mod">
          <ac:chgData name="Tường SKHĐT" userId="ab9568c39a88b08a" providerId="LiveId" clId="{416BC8F9-2F47-4FA9-8F5D-98F43C904B66}" dt="2023-04-24T02:03:09.873" v="1708"/>
          <ac:spMkLst>
            <pc:docMk/>
            <pc:sldMk cId="3139637778" sldId="2147473595"/>
            <ac:spMk id="4" creationId="{84E678B1-5987-B741-9399-D29A2D84E308}"/>
          </ac:spMkLst>
        </pc:spChg>
        <pc:spChg chg="del mod">
          <ac:chgData name="Tường SKHĐT" userId="ab9568c39a88b08a" providerId="LiveId" clId="{416BC8F9-2F47-4FA9-8F5D-98F43C904B66}" dt="2023-04-24T02:03:15.382" v="1710" actId="21"/>
          <ac:spMkLst>
            <pc:docMk/>
            <pc:sldMk cId="3139637778" sldId="2147473595"/>
            <ac:spMk id="5" creationId="{3E5B7A82-0062-4BD1-B2B0-817735F628CD}"/>
          </ac:spMkLst>
        </pc:spChg>
        <pc:spChg chg="del">
          <ac:chgData name="Tường SKHĐT" userId="ab9568c39a88b08a" providerId="LiveId" clId="{416BC8F9-2F47-4FA9-8F5D-98F43C904B66}" dt="2023-04-24T02:05:09.643" v="1742" actId="21"/>
          <ac:spMkLst>
            <pc:docMk/>
            <pc:sldMk cId="3139637778" sldId="2147473595"/>
            <ac:spMk id="8" creationId="{37C34CFC-7510-EFA7-B286-39B1F5FC337F}"/>
          </ac:spMkLst>
        </pc:spChg>
        <pc:spChg chg="del">
          <ac:chgData name="Tường SKHĐT" userId="ab9568c39a88b08a" providerId="LiveId" clId="{416BC8F9-2F47-4FA9-8F5D-98F43C904B66}" dt="2023-04-24T02:03:03.828" v="1707" actId="21"/>
          <ac:spMkLst>
            <pc:docMk/>
            <pc:sldMk cId="3139637778" sldId="2147473595"/>
            <ac:spMk id="9" creationId="{DC3C759A-7697-0726-4B56-57CF86D3B2EF}"/>
          </ac:spMkLst>
        </pc:spChg>
        <pc:spChg chg="add del mod">
          <ac:chgData name="Tường SKHĐT" userId="ab9568c39a88b08a" providerId="LiveId" clId="{416BC8F9-2F47-4FA9-8F5D-98F43C904B66}" dt="2023-04-24T02:03:18.612" v="1711" actId="21"/>
          <ac:spMkLst>
            <pc:docMk/>
            <pc:sldMk cId="3139637778" sldId="2147473595"/>
            <ac:spMk id="12" creationId="{BB985923-DBBC-F3A7-9810-4F8E2B476771}"/>
          </ac:spMkLst>
        </pc:spChg>
        <pc:spChg chg="add mod">
          <ac:chgData name="Tường SKHĐT" userId="ab9568c39a88b08a" providerId="LiveId" clId="{416BC8F9-2F47-4FA9-8F5D-98F43C904B66}" dt="2023-04-24T02:05:16.554" v="1744" actId="1076"/>
          <ac:spMkLst>
            <pc:docMk/>
            <pc:sldMk cId="3139637778" sldId="2147473595"/>
            <ac:spMk id="14" creationId="{3BB21231-19D0-3C3C-817D-946F318BECDB}"/>
          </ac:spMkLst>
        </pc:spChg>
        <pc:spChg chg="mod">
          <ac:chgData name="Tường SKHĐT" userId="ab9568c39a88b08a" providerId="LiveId" clId="{416BC8F9-2F47-4FA9-8F5D-98F43C904B66}" dt="2023-04-24T02:04:27.334" v="1717" actId="20577"/>
          <ac:spMkLst>
            <pc:docMk/>
            <pc:sldMk cId="3139637778" sldId="2147473595"/>
            <ac:spMk id="20" creationId="{394D8737-1CA3-C18F-155A-3F82403D4E3B}"/>
          </ac:spMkLst>
        </pc:spChg>
        <pc:spChg chg="mod">
          <ac:chgData name="Tường SKHĐT" userId="ab9568c39a88b08a" providerId="LiveId" clId="{416BC8F9-2F47-4FA9-8F5D-98F43C904B66}" dt="2023-04-24T02:04:47.022" v="1735" actId="20577"/>
          <ac:spMkLst>
            <pc:docMk/>
            <pc:sldMk cId="3139637778" sldId="2147473595"/>
            <ac:spMk id="27" creationId="{8D0CB480-EC39-4DC1-0353-768C8526261D}"/>
          </ac:spMkLst>
        </pc:spChg>
        <pc:spChg chg="mod">
          <ac:chgData name="Tường SKHĐT" userId="ab9568c39a88b08a" providerId="LiveId" clId="{416BC8F9-2F47-4FA9-8F5D-98F43C904B66}" dt="2023-04-24T02:04:37.078" v="1725" actId="20577"/>
          <ac:spMkLst>
            <pc:docMk/>
            <pc:sldMk cId="3139637778" sldId="2147473595"/>
            <ac:spMk id="28" creationId="{0F9FC2CC-E142-6E69-C8D8-33B29DA66359}"/>
          </ac:spMkLst>
        </pc:spChg>
        <pc:spChg chg="mod">
          <ac:chgData name="Tường SKHĐT" userId="ab9568c39a88b08a" providerId="LiveId" clId="{416BC8F9-2F47-4FA9-8F5D-98F43C904B66}" dt="2023-04-24T02:05:04.390" v="1741" actId="20577"/>
          <ac:spMkLst>
            <pc:docMk/>
            <pc:sldMk cId="3139637778" sldId="2147473595"/>
            <ac:spMk id="29" creationId="{8DD5A653-6B03-584A-539A-C531FCC0C782}"/>
          </ac:spMkLst>
        </pc:spChg>
        <pc:spChg chg="mod">
          <ac:chgData name="Tường SKHĐT" userId="ab9568c39a88b08a" providerId="LiveId" clId="{416BC8F9-2F47-4FA9-8F5D-98F43C904B66}" dt="2023-04-24T02:06:21.933" v="1758" actId="20577"/>
          <ac:spMkLst>
            <pc:docMk/>
            <pc:sldMk cId="3139637778" sldId="2147473595"/>
            <ac:spMk id="37" creationId="{A633A4AB-4B54-9DFF-1D3F-EE9B0A4D52DA}"/>
          </ac:spMkLst>
        </pc:spChg>
        <pc:spChg chg="mod">
          <ac:chgData name="Tường SKHĐT" userId="ab9568c39a88b08a" providerId="LiveId" clId="{416BC8F9-2F47-4FA9-8F5D-98F43C904B66}" dt="2023-04-24T02:06:35.530" v="1765" actId="20577"/>
          <ac:spMkLst>
            <pc:docMk/>
            <pc:sldMk cId="3139637778" sldId="2147473595"/>
            <ac:spMk id="38" creationId="{FF2CE636-D24D-E952-D91A-2DC1573B5B0B}"/>
          </ac:spMkLst>
        </pc:spChg>
        <pc:spChg chg="mod">
          <ac:chgData name="Tường SKHĐT" userId="ab9568c39a88b08a" providerId="LiveId" clId="{416BC8F9-2F47-4FA9-8F5D-98F43C904B66}" dt="2023-04-24T02:07:02.880" v="1775" actId="20577"/>
          <ac:spMkLst>
            <pc:docMk/>
            <pc:sldMk cId="3139637778" sldId="2147473595"/>
            <ac:spMk id="44" creationId="{5E1839A1-AF45-017F-DFD1-C34DB517EE3A}"/>
          </ac:spMkLst>
        </pc:spChg>
        <pc:spChg chg="mod">
          <ac:chgData name="Tường SKHĐT" userId="ab9568c39a88b08a" providerId="LiveId" clId="{416BC8F9-2F47-4FA9-8F5D-98F43C904B66}" dt="2023-04-24T02:05:58.033" v="1746" actId="20577"/>
          <ac:spMkLst>
            <pc:docMk/>
            <pc:sldMk cId="3139637778" sldId="2147473595"/>
            <ac:spMk id="47" creationId="{615E2FF8-44B4-E5D2-386A-D270D5A07DA1}"/>
          </ac:spMkLst>
        </pc:spChg>
        <pc:spChg chg="mod">
          <ac:chgData name="Tường SKHĐT" userId="ab9568c39a88b08a" providerId="LiveId" clId="{416BC8F9-2F47-4FA9-8F5D-98F43C904B66}" dt="2023-04-24T02:06:13.954" v="1754" actId="20577"/>
          <ac:spMkLst>
            <pc:docMk/>
            <pc:sldMk cId="3139637778" sldId="2147473595"/>
            <ac:spMk id="49" creationId="{AD11AB72-0225-23FC-63B7-476A1B443B45}"/>
          </ac:spMkLst>
        </pc:spChg>
        <pc:spChg chg="mod">
          <ac:chgData name="Tường SKHĐT" userId="ab9568c39a88b08a" providerId="LiveId" clId="{416BC8F9-2F47-4FA9-8F5D-98F43C904B66}" dt="2023-04-24T02:06:49.806" v="1769" actId="20577"/>
          <ac:spMkLst>
            <pc:docMk/>
            <pc:sldMk cId="3139637778" sldId="2147473595"/>
            <ac:spMk id="53" creationId="{940E7436-8D16-138B-2BFE-178612083DAB}"/>
          </ac:spMkLst>
        </pc:spChg>
        <pc:cxnChg chg="add mod">
          <ac:chgData name="Tường SKHĐT" userId="ab9568c39a88b08a" providerId="LiveId" clId="{416BC8F9-2F47-4FA9-8F5D-98F43C904B66}" dt="2023-04-24T02:03:09.873" v="1708"/>
          <ac:cxnSpMkLst>
            <pc:docMk/>
            <pc:sldMk cId="3139637778" sldId="2147473595"/>
            <ac:cxnSpMk id="3" creationId="{ADD22AB5-997A-438C-90CE-9E3E978696C3}"/>
          </ac:cxnSpMkLst>
        </pc:cxnChg>
      </pc:sldChg>
      <pc:sldChg chg="addSp delSp modSp add mod">
        <pc:chgData name="Tường SKHĐT" userId="ab9568c39a88b08a" providerId="LiveId" clId="{416BC8F9-2F47-4FA9-8F5D-98F43C904B66}" dt="2023-04-24T01:18:22.519" v="720"/>
        <pc:sldMkLst>
          <pc:docMk/>
          <pc:sldMk cId="332938349" sldId="2147473657"/>
        </pc:sldMkLst>
        <pc:spChg chg="del">
          <ac:chgData name="Tường SKHĐT" userId="ab9568c39a88b08a" providerId="LiveId" clId="{416BC8F9-2F47-4FA9-8F5D-98F43C904B66}" dt="2023-04-24T01:18:16.032" v="719" actId="478"/>
          <ac:spMkLst>
            <pc:docMk/>
            <pc:sldMk cId="332938349" sldId="2147473657"/>
            <ac:spMk id="2" creationId="{5CB399BC-B689-7E7F-195B-61D2996AF366}"/>
          </ac:spMkLst>
        </pc:spChg>
        <pc:spChg chg="del">
          <ac:chgData name="Tường SKHĐT" userId="ab9568c39a88b08a" providerId="LiveId" clId="{416BC8F9-2F47-4FA9-8F5D-98F43C904B66}" dt="2023-04-24T01:18:16.032" v="719" actId="478"/>
          <ac:spMkLst>
            <pc:docMk/>
            <pc:sldMk cId="332938349" sldId="2147473657"/>
            <ac:spMk id="5" creationId="{16D87788-19CF-EACC-C5D9-BA8E431B5992}"/>
          </ac:spMkLst>
        </pc:spChg>
        <pc:spChg chg="add mod">
          <ac:chgData name="Tường SKHĐT" userId="ab9568c39a88b08a" providerId="LiveId" clId="{416BC8F9-2F47-4FA9-8F5D-98F43C904B66}" dt="2023-04-24T01:18:22.519" v="720"/>
          <ac:spMkLst>
            <pc:docMk/>
            <pc:sldMk cId="332938349" sldId="2147473657"/>
            <ac:spMk id="6" creationId="{92405935-9037-2264-EBA5-31E82349A474}"/>
          </ac:spMkLst>
        </pc:spChg>
        <pc:spChg chg="add mod">
          <ac:chgData name="Tường SKHĐT" userId="ab9568c39a88b08a" providerId="LiveId" clId="{416BC8F9-2F47-4FA9-8F5D-98F43C904B66}" dt="2023-04-24T01:18:22.519" v="720"/>
          <ac:spMkLst>
            <pc:docMk/>
            <pc:sldMk cId="332938349" sldId="2147473657"/>
            <ac:spMk id="9" creationId="{18AC359A-8ADF-9DAA-4CA1-F82A916F1E2E}"/>
          </ac:spMkLst>
        </pc:spChg>
        <pc:spChg chg="mod">
          <ac:chgData name="Tường SKHĐT" userId="ab9568c39a88b08a" providerId="LiveId" clId="{416BC8F9-2F47-4FA9-8F5D-98F43C904B66}" dt="2023-04-24T01:14:55.035" v="686" actId="20577"/>
          <ac:spMkLst>
            <pc:docMk/>
            <pc:sldMk cId="332938349" sldId="2147473657"/>
            <ac:spMk id="33" creationId="{0959055D-1A0E-234C-9864-D6D0F9E441B4}"/>
          </ac:spMkLst>
        </pc:spChg>
        <pc:spChg chg="mod">
          <ac:chgData name="Tường SKHĐT" userId="ab9568c39a88b08a" providerId="LiveId" clId="{416BC8F9-2F47-4FA9-8F5D-98F43C904B66}" dt="2023-04-24T01:16:46.030" v="715" actId="20577"/>
          <ac:spMkLst>
            <pc:docMk/>
            <pc:sldMk cId="332938349" sldId="2147473657"/>
            <ac:spMk id="40" creationId="{FABBDFEF-7425-3DC8-26BD-C4182D52986A}"/>
          </ac:spMkLst>
        </pc:spChg>
        <pc:spChg chg="mod">
          <ac:chgData name="Tường SKHĐT" userId="ab9568c39a88b08a" providerId="LiveId" clId="{416BC8F9-2F47-4FA9-8F5D-98F43C904B66}" dt="2023-04-24T01:16:12.408" v="698" actId="20577"/>
          <ac:spMkLst>
            <pc:docMk/>
            <pc:sldMk cId="332938349" sldId="2147473657"/>
            <ac:spMk id="44" creationId="{636102A5-292E-4115-0BF1-8411DAD6DF17}"/>
          </ac:spMkLst>
        </pc:spChg>
        <pc:spChg chg="mod">
          <ac:chgData name="Tường SKHĐT" userId="ab9568c39a88b08a" providerId="LiveId" clId="{416BC8F9-2F47-4FA9-8F5D-98F43C904B66}" dt="2023-04-24T01:16:33.090" v="705" actId="1076"/>
          <ac:spMkLst>
            <pc:docMk/>
            <pc:sldMk cId="332938349" sldId="2147473657"/>
            <ac:spMk id="48" creationId="{1DEE14E9-5B38-0A85-77D6-8AAC8B32AFDB}"/>
          </ac:spMkLst>
        </pc:spChg>
        <pc:spChg chg="mod">
          <ac:chgData name="Tường SKHĐT" userId="ab9568c39a88b08a" providerId="LiveId" clId="{416BC8F9-2F47-4FA9-8F5D-98F43C904B66}" dt="2023-04-24T01:16:57.833" v="716" actId="1076"/>
          <ac:spMkLst>
            <pc:docMk/>
            <pc:sldMk cId="332938349" sldId="2147473657"/>
            <ac:spMk id="51" creationId="{E639D5A5-0B2B-2B25-C42F-CD3F6B8CE468}"/>
          </ac:spMkLst>
        </pc:spChg>
        <pc:graphicFrameChg chg="del">
          <ac:chgData name="Tường SKHĐT" userId="ab9568c39a88b08a" providerId="LiveId" clId="{416BC8F9-2F47-4FA9-8F5D-98F43C904B66}" dt="2023-04-24T01:15:01.155" v="687" actId="21"/>
          <ac:graphicFrameMkLst>
            <pc:docMk/>
            <pc:sldMk cId="332938349" sldId="2147473657"/>
            <ac:graphicFrameMk id="3" creationId="{FDF45EA6-BB82-BD31-19BB-CB1DBA500D01}"/>
          </ac:graphicFrameMkLst>
        </pc:graphicFrameChg>
        <pc:graphicFrameChg chg="mod">
          <ac:chgData name="Tường SKHĐT" userId="ab9568c39a88b08a" providerId="LiveId" clId="{416BC8F9-2F47-4FA9-8F5D-98F43C904B66}" dt="2023-04-24T01:17:13.813" v="717" actId="1076"/>
          <ac:graphicFrameMkLst>
            <pc:docMk/>
            <pc:sldMk cId="332938349" sldId="2147473657"/>
            <ac:graphicFrameMk id="4" creationId="{167F3161-DD78-935D-77A0-E20BFD3D81E1}"/>
          </ac:graphicFrameMkLst>
        </pc:graphicFrameChg>
        <pc:graphicFrameChg chg="mod">
          <ac:chgData name="Tường SKHĐT" userId="ab9568c39a88b08a" providerId="LiveId" clId="{416BC8F9-2F47-4FA9-8F5D-98F43C904B66}" dt="2023-04-24T01:18:03.692" v="718" actId="1076"/>
          <ac:graphicFrameMkLst>
            <pc:docMk/>
            <pc:sldMk cId="332938349" sldId="2147473657"/>
            <ac:graphicFrameMk id="8" creationId="{B5E5335D-2EED-82AF-3A59-FAE8BB94EAE1}"/>
          </ac:graphicFrameMkLst>
        </pc:graphicFrameChg>
        <pc:cxnChg chg="add mod">
          <ac:chgData name="Tường SKHĐT" userId="ab9568c39a88b08a" providerId="LiveId" clId="{416BC8F9-2F47-4FA9-8F5D-98F43C904B66}" dt="2023-04-24T01:18:22.519" v="720"/>
          <ac:cxnSpMkLst>
            <pc:docMk/>
            <pc:sldMk cId="332938349" sldId="2147473657"/>
            <ac:cxnSpMk id="7" creationId="{B32367A8-7646-EBBA-9144-BEC13126AB4A}"/>
          </ac:cxnSpMkLst>
        </pc:cxnChg>
      </pc:sldChg>
      <pc:sldChg chg="modSp add del mod">
        <pc:chgData name="Tường SKHĐT" userId="ab9568c39a88b08a" providerId="LiveId" clId="{416BC8F9-2F47-4FA9-8F5D-98F43C904B66}" dt="2023-04-24T01:21:16.776" v="794" actId="2696"/>
        <pc:sldMkLst>
          <pc:docMk/>
          <pc:sldMk cId="3788652331" sldId="2147473664"/>
        </pc:sldMkLst>
        <pc:graphicFrameChg chg="modGraphic">
          <ac:chgData name="Tường SKHĐT" userId="ab9568c39a88b08a" providerId="LiveId" clId="{416BC8F9-2F47-4FA9-8F5D-98F43C904B66}" dt="2023-04-24T01:20:13.328" v="741" actId="20577"/>
          <ac:graphicFrameMkLst>
            <pc:docMk/>
            <pc:sldMk cId="3788652331" sldId="2147473664"/>
            <ac:graphicFrameMk id="8" creationId="{B5E5335D-2EED-82AF-3A59-FAE8BB94EAE1}"/>
          </ac:graphicFrameMkLst>
        </pc:graphicFrameChg>
      </pc:sldChg>
      <pc:sldChg chg="add del">
        <pc:chgData name="Tường SKHĐT" userId="ab9568c39a88b08a" providerId="LiveId" clId="{416BC8F9-2F47-4FA9-8F5D-98F43C904B66}" dt="2023-04-24T01:30:27.811" v="905" actId="2696"/>
        <pc:sldMkLst>
          <pc:docMk/>
          <pc:sldMk cId="293803616" sldId="2147473681"/>
        </pc:sldMkLst>
      </pc:sldChg>
      <pc:sldChg chg="addSp delSp modSp add mod">
        <pc:chgData name="Tường SKHĐT" userId="ab9568c39a88b08a" providerId="LiveId" clId="{416BC8F9-2F47-4FA9-8F5D-98F43C904B66}" dt="2023-04-24T01:57:19.038" v="1620" actId="20577"/>
        <pc:sldMkLst>
          <pc:docMk/>
          <pc:sldMk cId="1100242652" sldId="2147473690"/>
        </pc:sldMkLst>
        <pc:spChg chg="del">
          <ac:chgData name="Tường SKHĐT" userId="ab9568c39a88b08a" providerId="LiveId" clId="{416BC8F9-2F47-4FA9-8F5D-98F43C904B66}" dt="2023-04-24T01:56:48.270" v="1593" actId="21"/>
          <ac:spMkLst>
            <pc:docMk/>
            <pc:sldMk cId="1100242652" sldId="2147473690"/>
            <ac:spMk id="3" creationId="{B12D2C4C-6F96-4E64-A8EB-31804EA17C25}"/>
          </ac:spMkLst>
        </pc:spChg>
        <pc:spChg chg="add mod">
          <ac:chgData name="Tường SKHĐT" userId="ab9568c39a88b08a" providerId="LiveId" clId="{416BC8F9-2F47-4FA9-8F5D-98F43C904B66}" dt="2023-04-24T01:56:44.569" v="1592"/>
          <ac:spMkLst>
            <pc:docMk/>
            <pc:sldMk cId="1100242652" sldId="2147473690"/>
            <ac:spMk id="5" creationId="{5B050C0E-6F0A-3A34-5DE6-722AD68E3AD2}"/>
          </ac:spMkLst>
        </pc:spChg>
        <pc:spChg chg="del">
          <ac:chgData name="Tường SKHĐT" userId="ab9568c39a88b08a" providerId="LiveId" clId="{416BC8F9-2F47-4FA9-8F5D-98F43C904B66}" dt="2023-04-24T01:56:40.173" v="1591" actId="478"/>
          <ac:spMkLst>
            <pc:docMk/>
            <pc:sldMk cId="1100242652" sldId="2147473690"/>
            <ac:spMk id="7" creationId="{12B86A77-EB05-A4E8-D08E-230D247FC14A}"/>
          </ac:spMkLst>
        </pc:spChg>
        <pc:spChg chg="del">
          <ac:chgData name="Tường SKHĐT" userId="ab9568c39a88b08a" providerId="LiveId" clId="{416BC8F9-2F47-4FA9-8F5D-98F43C904B66}" dt="2023-04-24T01:56:40.173" v="1591" actId="478"/>
          <ac:spMkLst>
            <pc:docMk/>
            <pc:sldMk cId="1100242652" sldId="2147473690"/>
            <ac:spMk id="9" creationId="{64F6FF76-FE74-0506-286A-B4F3B9584380}"/>
          </ac:spMkLst>
        </pc:spChg>
        <pc:spChg chg="mod">
          <ac:chgData name="Tường SKHĐT" userId="ab9568c39a88b08a" providerId="LiveId" clId="{416BC8F9-2F47-4FA9-8F5D-98F43C904B66}" dt="2023-04-24T01:57:19.038" v="1620" actId="20577"/>
          <ac:spMkLst>
            <pc:docMk/>
            <pc:sldMk cId="1100242652" sldId="2147473690"/>
            <ac:spMk id="17" creationId="{819C62AF-660F-4A4C-8D60-DED895CA4F86}"/>
          </ac:spMkLst>
        </pc:spChg>
        <pc:spChg chg="mod">
          <ac:chgData name="Tường SKHĐT" userId="ab9568c39a88b08a" providerId="LiveId" clId="{416BC8F9-2F47-4FA9-8F5D-98F43C904B66}" dt="2023-04-24T01:57:11.713" v="1617" actId="20577"/>
          <ac:spMkLst>
            <pc:docMk/>
            <pc:sldMk cId="1100242652" sldId="2147473690"/>
            <ac:spMk id="38" creationId="{E99E09BE-73DB-3EA0-743A-B6780F7EC077}"/>
          </ac:spMkLst>
        </pc:spChg>
        <pc:spChg chg="mod">
          <ac:chgData name="Tường SKHĐT" userId="ab9568c39a88b08a" providerId="LiveId" clId="{416BC8F9-2F47-4FA9-8F5D-98F43C904B66}" dt="2023-04-24T01:56:55.526" v="1601" actId="20577"/>
          <ac:spMkLst>
            <pc:docMk/>
            <pc:sldMk cId="1100242652" sldId="2147473690"/>
            <ac:spMk id="39" creationId="{7264A84C-57F7-F74D-C532-6F7E2AD94E1E}"/>
          </ac:spMkLst>
        </pc:spChg>
        <pc:spChg chg="mod">
          <ac:chgData name="Tường SKHĐT" userId="ab9568c39a88b08a" providerId="LiveId" clId="{416BC8F9-2F47-4FA9-8F5D-98F43C904B66}" dt="2023-04-24T01:57:04.375" v="1608" actId="20577"/>
          <ac:spMkLst>
            <pc:docMk/>
            <pc:sldMk cId="1100242652" sldId="2147473690"/>
            <ac:spMk id="43" creationId="{30203544-5CA4-077B-B78C-B19B96F8FC77}"/>
          </ac:spMkLst>
        </pc:spChg>
      </pc:sldChg>
      <pc:sldChg chg="addSp delSp modSp add mod">
        <pc:chgData name="Tường SKHĐT" userId="ab9568c39a88b08a" providerId="LiveId" clId="{416BC8F9-2F47-4FA9-8F5D-98F43C904B66}" dt="2023-04-24T01:48:03.467" v="1349" actId="20577"/>
        <pc:sldMkLst>
          <pc:docMk/>
          <pc:sldMk cId="2211563581" sldId="2147473695"/>
        </pc:sldMkLst>
        <pc:spChg chg="mod">
          <ac:chgData name="Tường SKHĐT" userId="ab9568c39a88b08a" providerId="LiveId" clId="{416BC8F9-2F47-4FA9-8F5D-98F43C904B66}" dt="2023-04-24T01:46:16.675" v="1249" actId="20577"/>
          <ac:spMkLst>
            <pc:docMk/>
            <pc:sldMk cId="2211563581" sldId="2147473695"/>
            <ac:spMk id="3" creationId="{A0D5D58A-756E-802D-A09E-1BEA6D184E77}"/>
          </ac:spMkLst>
        </pc:spChg>
        <pc:spChg chg="mod">
          <ac:chgData name="Tường SKHĐT" userId="ab9568c39a88b08a" providerId="LiveId" clId="{416BC8F9-2F47-4FA9-8F5D-98F43C904B66}" dt="2023-04-24T01:48:03.467" v="1349" actId="20577"/>
          <ac:spMkLst>
            <pc:docMk/>
            <pc:sldMk cId="2211563581" sldId="2147473695"/>
            <ac:spMk id="6" creationId="{81B6DC98-C123-5771-E46D-17ED3EE03739}"/>
          </ac:spMkLst>
        </pc:spChg>
        <pc:spChg chg="add mod">
          <ac:chgData name="Tường SKHĐT" userId="ab9568c39a88b08a" providerId="LiveId" clId="{416BC8F9-2F47-4FA9-8F5D-98F43C904B66}" dt="2023-04-24T01:45:18.263" v="1217"/>
          <ac:spMkLst>
            <pc:docMk/>
            <pc:sldMk cId="2211563581" sldId="2147473695"/>
            <ac:spMk id="9" creationId="{AA333C84-38FB-D5AE-847A-B08E8985AF40}"/>
          </ac:spMkLst>
        </pc:spChg>
        <pc:spChg chg="del">
          <ac:chgData name="Tường SKHĐT" userId="ab9568c39a88b08a" providerId="LiveId" clId="{416BC8F9-2F47-4FA9-8F5D-98F43C904B66}" dt="2023-04-24T01:45:12.203" v="1214" actId="478"/>
          <ac:spMkLst>
            <pc:docMk/>
            <pc:sldMk cId="2211563581" sldId="2147473695"/>
            <ac:spMk id="10" creationId="{1E8E499E-810A-C1D3-5424-E1F935128A77}"/>
          </ac:spMkLst>
        </pc:spChg>
        <pc:spChg chg="del">
          <ac:chgData name="Tường SKHĐT" userId="ab9568c39a88b08a" providerId="LiveId" clId="{416BC8F9-2F47-4FA9-8F5D-98F43C904B66}" dt="2023-04-24T01:45:12.203" v="1214" actId="478"/>
          <ac:spMkLst>
            <pc:docMk/>
            <pc:sldMk cId="2211563581" sldId="2147473695"/>
            <ac:spMk id="11" creationId="{C1F29618-6A2A-EFE2-3A1E-A88CCAC7B92C}"/>
          </ac:spMkLst>
        </pc:spChg>
        <pc:spChg chg="mod">
          <ac:chgData name="Tường SKHĐT" userId="ab9568c39a88b08a" providerId="LiveId" clId="{416BC8F9-2F47-4FA9-8F5D-98F43C904B66}" dt="2023-04-24T01:47:26.448" v="1320" actId="20577"/>
          <ac:spMkLst>
            <pc:docMk/>
            <pc:sldMk cId="2211563581" sldId="2147473695"/>
            <ac:spMk id="16" creationId="{CD1FFBD1-4EFA-ED54-8F81-E3C9559069D4}"/>
          </ac:spMkLst>
        </pc:spChg>
        <pc:spChg chg="mod">
          <ac:chgData name="Tường SKHĐT" userId="ab9568c39a88b08a" providerId="LiveId" clId="{416BC8F9-2F47-4FA9-8F5D-98F43C904B66}" dt="2023-04-24T01:46:47.175" v="1276" actId="688"/>
          <ac:spMkLst>
            <pc:docMk/>
            <pc:sldMk cId="2211563581" sldId="2147473695"/>
            <ac:spMk id="19" creationId="{122A9A1C-AFFE-3821-B2D0-B1BF037AF2EA}"/>
          </ac:spMkLst>
        </pc:spChg>
        <pc:spChg chg="mod">
          <ac:chgData name="Tường SKHĐT" userId="ab9568c39a88b08a" providerId="LiveId" clId="{416BC8F9-2F47-4FA9-8F5D-98F43C904B66}" dt="2023-04-24T01:46:42.027" v="1275" actId="20577"/>
          <ac:spMkLst>
            <pc:docMk/>
            <pc:sldMk cId="2211563581" sldId="2147473695"/>
            <ac:spMk id="720" creationId="{00000000-0000-0000-0000-000000000000}"/>
          </ac:spMkLst>
        </pc:spChg>
        <pc:spChg chg="mod">
          <ac:chgData name="Tường SKHĐT" userId="ab9568c39a88b08a" providerId="LiveId" clId="{416BC8F9-2F47-4FA9-8F5D-98F43C904B66}" dt="2023-04-24T01:47:07.311" v="1300" actId="20577"/>
          <ac:spMkLst>
            <pc:docMk/>
            <pc:sldMk cId="2211563581" sldId="2147473695"/>
            <ac:spMk id="726" creationId="{00000000-0000-0000-0000-000000000000}"/>
          </ac:spMkLst>
        </pc:spChg>
        <pc:picChg chg="add del mod">
          <ac:chgData name="Tường SKHĐT" userId="ab9568c39a88b08a" providerId="LiveId" clId="{416BC8F9-2F47-4FA9-8F5D-98F43C904B66}" dt="2023-04-24T01:45:13.609" v="1216"/>
          <ac:picMkLst>
            <pc:docMk/>
            <pc:sldMk cId="2211563581" sldId="2147473695"/>
            <ac:picMk id="8" creationId="{B65DCEAC-2613-D818-B32F-9A3B09A6358D}"/>
          </ac:picMkLst>
        </pc:picChg>
      </pc:sldChg>
      <pc:sldChg chg="addSp delSp modSp add mod">
        <pc:chgData name="Tường SKHĐT" userId="ab9568c39a88b08a" providerId="LiveId" clId="{416BC8F9-2F47-4FA9-8F5D-98F43C904B66}" dt="2023-04-24T01:39:32.366" v="1129" actId="20577"/>
        <pc:sldMkLst>
          <pc:docMk/>
          <pc:sldMk cId="1117321248" sldId="2147473696"/>
        </pc:sldMkLst>
        <pc:spChg chg="add mod">
          <ac:chgData name="Tường SKHĐT" userId="ab9568c39a88b08a" providerId="LiveId" clId="{416BC8F9-2F47-4FA9-8F5D-98F43C904B66}" dt="2023-04-24T01:33:37.125" v="1056" actId="20577"/>
          <ac:spMkLst>
            <pc:docMk/>
            <pc:sldMk cId="1117321248" sldId="2147473696"/>
            <ac:spMk id="2" creationId="{5A3FF2AF-05D6-0FBA-FC5A-AA76255A0E9A}"/>
          </ac:spMkLst>
        </pc:spChg>
        <pc:spChg chg="del">
          <ac:chgData name="Tường SKHĐT" userId="ab9568c39a88b08a" providerId="LiveId" clId="{416BC8F9-2F47-4FA9-8F5D-98F43C904B66}" dt="2023-04-24T01:33:27.815" v="1052" actId="478"/>
          <ac:spMkLst>
            <pc:docMk/>
            <pc:sldMk cId="1117321248" sldId="2147473696"/>
            <ac:spMk id="4" creationId="{BC31463C-298B-A6B5-ABD8-F7B1C75C6D8F}"/>
          </ac:spMkLst>
        </pc:spChg>
        <pc:spChg chg="add mod">
          <ac:chgData name="Tường SKHĐT" userId="ab9568c39a88b08a" providerId="LiveId" clId="{416BC8F9-2F47-4FA9-8F5D-98F43C904B66}" dt="2023-04-24T01:33:33.226" v="1053"/>
          <ac:spMkLst>
            <pc:docMk/>
            <pc:sldMk cId="1117321248" sldId="2147473696"/>
            <ac:spMk id="5" creationId="{53B9A8A9-46D9-3DCF-1122-DDDAAC25F137}"/>
          </ac:spMkLst>
        </pc:spChg>
        <pc:spChg chg="del">
          <ac:chgData name="Tường SKHĐT" userId="ab9568c39a88b08a" providerId="LiveId" clId="{416BC8F9-2F47-4FA9-8F5D-98F43C904B66}" dt="2023-04-24T01:33:27.815" v="1052" actId="478"/>
          <ac:spMkLst>
            <pc:docMk/>
            <pc:sldMk cId="1117321248" sldId="2147473696"/>
            <ac:spMk id="25" creationId="{01DC26C3-E6F4-C27A-8624-3A65D81B6008}"/>
          </ac:spMkLst>
        </pc:spChg>
        <pc:graphicFrameChg chg="modGraphic">
          <ac:chgData name="Tường SKHĐT" userId="ab9568c39a88b08a" providerId="LiveId" clId="{416BC8F9-2F47-4FA9-8F5D-98F43C904B66}" dt="2023-04-24T01:39:32.366" v="1129" actId="20577"/>
          <ac:graphicFrameMkLst>
            <pc:docMk/>
            <pc:sldMk cId="1117321248" sldId="2147473696"/>
            <ac:graphicFrameMk id="8" creationId="{B5E5335D-2EED-82AF-3A59-FAE8BB94EAE1}"/>
          </ac:graphicFrameMkLst>
        </pc:graphicFrameChg>
        <pc:cxnChg chg="add mod">
          <ac:chgData name="Tường SKHĐT" userId="ab9568c39a88b08a" providerId="LiveId" clId="{416BC8F9-2F47-4FA9-8F5D-98F43C904B66}" dt="2023-04-24T01:33:33.226" v="1053"/>
          <ac:cxnSpMkLst>
            <pc:docMk/>
            <pc:sldMk cId="1117321248" sldId="2147473696"/>
            <ac:cxnSpMk id="3" creationId="{71E14BA5-7721-7D1A-DA21-B15D18E7B923}"/>
          </ac:cxnSpMkLst>
        </pc:cxnChg>
      </pc:sldChg>
      <pc:sldChg chg="delSp modSp add mod">
        <pc:chgData name="Tường SKHĐT" userId="ab9568c39a88b08a" providerId="LiveId" clId="{416BC8F9-2F47-4FA9-8F5D-98F43C904B66}" dt="2023-04-26T04:03:43.460" v="1861" actId="1076"/>
        <pc:sldMkLst>
          <pc:docMk/>
          <pc:sldMk cId="853042595" sldId="2147473697"/>
        </pc:sldMkLst>
        <pc:spChg chg="mod">
          <ac:chgData name="Tường SKHĐT" userId="ab9568c39a88b08a" providerId="LiveId" clId="{416BC8F9-2F47-4FA9-8F5D-98F43C904B66}" dt="2023-04-26T04:03:40.804" v="1860" actId="1076"/>
          <ac:spMkLst>
            <pc:docMk/>
            <pc:sldMk cId="853042595" sldId="2147473697"/>
            <ac:spMk id="4" creationId="{16D24723-A233-03FF-2329-1817AB93339D}"/>
          </ac:spMkLst>
        </pc:spChg>
        <pc:spChg chg="mod">
          <ac:chgData name="Tường SKHĐT" userId="ab9568c39a88b08a" providerId="LiveId" clId="{416BC8F9-2F47-4FA9-8F5D-98F43C904B66}" dt="2023-04-26T04:03:43.460" v="1861" actId="1076"/>
          <ac:spMkLst>
            <pc:docMk/>
            <pc:sldMk cId="853042595" sldId="2147473697"/>
            <ac:spMk id="25" creationId="{01DC26C3-E6F4-C27A-8624-3A65D81B6008}"/>
          </ac:spMkLst>
        </pc:spChg>
        <pc:graphicFrameChg chg="mod">
          <ac:chgData name="Tường SKHĐT" userId="ab9568c39a88b08a" providerId="LiveId" clId="{416BC8F9-2F47-4FA9-8F5D-98F43C904B66}" dt="2023-04-26T04:03:23.332" v="1857" actId="1076"/>
          <ac:graphicFrameMkLst>
            <pc:docMk/>
            <pc:sldMk cId="853042595" sldId="2147473697"/>
            <ac:graphicFrameMk id="2" creationId="{E86A93AD-ABF3-4A2E-C686-BBABBAD60848}"/>
          </ac:graphicFrameMkLst>
        </pc:graphicFrameChg>
        <pc:graphicFrameChg chg="del">
          <ac:chgData name="Tường SKHĐT" userId="ab9568c39a88b08a" providerId="LiveId" clId="{416BC8F9-2F47-4FA9-8F5D-98F43C904B66}" dt="2023-04-26T04:01:15.788" v="1780" actId="21"/>
          <ac:graphicFrameMkLst>
            <pc:docMk/>
            <pc:sldMk cId="853042595" sldId="2147473697"/>
            <ac:graphicFrameMk id="3" creationId="{1A8137C9-D7A2-A91B-5301-CC2B9190FF1F}"/>
          </ac:graphicFrameMkLst>
        </pc:graphicFrameChg>
        <pc:cxnChg chg="mod">
          <ac:chgData name="Tường SKHĐT" userId="ab9568c39a88b08a" providerId="LiveId" clId="{416BC8F9-2F47-4FA9-8F5D-98F43C904B66}" dt="2023-04-26T04:03:40.804" v="1860" actId="1076"/>
          <ac:cxnSpMkLst>
            <pc:docMk/>
            <pc:sldMk cId="853042595" sldId="2147473697"/>
            <ac:cxnSpMk id="6" creationId="{FF705920-E1B4-B4D0-9EA4-A27AA5761577}"/>
          </ac:cxnSpMkLst>
        </pc:cxnChg>
      </pc:sldChg>
    </pc:docChg>
  </pc:docChgLst>
  <pc:docChgLst>
    <pc:chgData name="Tường SKHĐT" userId="ab9568c39a88b08a" providerId="LiveId" clId="{9C79F668-7762-49B4-B8C4-EF402FF964E0}"/>
    <pc:docChg chg="undo custSel addSld delSld modSld">
      <pc:chgData name="Tường SKHĐT" userId="ab9568c39a88b08a" providerId="LiveId" clId="{9C79F668-7762-49B4-B8C4-EF402FF964E0}" dt="2023-03-04T11:48:32.234" v="2434" actId="20577"/>
      <pc:docMkLst>
        <pc:docMk/>
      </pc:docMkLst>
      <pc:sldChg chg="modSp del mod">
        <pc:chgData name="Tường SKHĐT" userId="ab9568c39a88b08a" providerId="LiveId" clId="{9C79F668-7762-49B4-B8C4-EF402FF964E0}" dt="2023-03-04T11:02:34.874" v="956" actId="2696"/>
        <pc:sldMkLst>
          <pc:docMk/>
          <pc:sldMk cId="348917705" sldId="482"/>
        </pc:sldMkLst>
        <pc:graphicFrameChg chg="mod modGraphic">
          <ac:chgData name="Tường SKHĐT" userId="ab9568c39a88b08a" providerId="LiveId" clId="{9C79F668-7762-49B4-B8C4-EF402FF964E0}" dt="2023-03-04T08:20:23.857" v="20" actId="1076"/>
          <ac:graphicFrameMkLst>
            <pc:docMk/>
            <pc:sldMk cId="348917705" sldId="482"/>
            <ac:graphicFrameMk id="2" creationId="{FBFFDBCD-49A2-B604-F9E9-B81E95DF4EB5}"/>
          </ac:graphicFrameMkLst>
        </pc:graphicFrameChg>
      </pc:sldChg>
      <pc:sldChg chg="modSp mod">
        <pc:chgData name="Tường SKHĐT" userId="ab9568c39a88b08a" providerId="LiveId" clId="{9C79F668-7762-49B4-B8C4-EF402FF964E0}" dt="2023-03-04T09:16:30.683" v="169" actId="207"/>
        <pc:sldMkLst>
          <pc:docMk/>
          <pc:sldMk cId="4051799181" sldId="483"/>
        </pc:sldMkLst>
        <pc:graphicFrameChg chg="mod modGraphic">
          <ac:chgData name="Tường SKHĐT" userId="ab9568c39a88b08a" providerId="LiveId" clId="{9C79F668-7762-49B4-B8C4-EF402FF964E0}" dt="2023-03-04T09:16:30.683" v="169" actId="207"/>
          <ac:graphicFrameMkLst>
            <pc:docMk/>
            <pc:sldMk cId="4051799181" sldId="483"/>
            <ac:graphicFrameMk id="2" creationId="{E76DB986-E2D7-83CD-133B-774E10731A3B}"/>
          </ac:graphicFrameMkLst>
        </pc:graphicFrameChg>
      </pc:sldChg>
      <pc:sldChg chg="del">
        <pc:chgData name="Tường SKHĐT" userId="ab9568c39a88b08a" providerId="LiveId" clId="{9C79F668-7762-49B4-B8C4-EF402FF964E0}" dt="2023-03-04T10:26:48.330" v="852" actId="2696"/>
        <pc:sldMkLst>
          <pc:docMk/>
          <pc:sldMk cId="1861422418" sldId="534"/>
        </pc:sldMkLst>
      </pc:sldChg>
      <pc:sldChg chg="modSp add mod">
        <pc:chgData name="Tường SKHĐT" userId="ab9568c39a88b08a" providerId="LiveId" clId="{9C79F668-7762-49B4-B8C4-EF402FF964E0}" dt="2023-03-04T10:27:16.074" v="930" actId="20577"/>
        <pc:sldMkLst>
          <pc:docMk/>
          <pc:sldMk cId="3898226705" sldId="2147468741"/>
        </pc:sldMkLst>
        <pc:spChg chg="mod">
          <ac:chgData name="Tường SKHĐT" userId="ab9568c39a88b08a" providerId="LiveId" clId="{9C79F668-7762-49B4-B8C4-EF402FF964E0}" dt="2023-03-04T10:27:16.074" v="930" actId="20577"/>
          <ac:spMkLst>
            <pc:docMk/>
            <pc:sldMk cId="3898226705" sldId="2147468741"/>
            <ac:spMk id="4" creationId="{A8ED73C0-6DEB-F036-A81D-A84B4FA62951}"/>
          </ac:spMkLst>
        </pc:spChg>
        <pc:spChg chg="mod">
          <ac:chgData name="Tường SKHĐT" userId="ab9568c39a88b08a" providerId="LiveId" clId="{9C79F668-7762-49B4-B8C4-EF402FF964E0}" dt="2023-03-04T10:27:01.735" v="855" actId="20577"/>
          <ac:spMkLst>
            <pc:docMk/>
            <pc:sldMk cId="3898226705" sldId="2147468741"/>
            <ac:spMk id="8" creationId="{DD9DC42D-6B32-D0D8-CA99-BF990F83F37A}"/>
          </ac:spMkLst>
        </pc:spChg>
      </pc:sldChg>
      <pc:sldChg chg="add setBg">
        <pc:chgData name="Tường SKHĐT" userId="ab9568c39a88b08a" providerId="LiveId" clId="{9C79F668-7762-49B4-B8C4-EF402FF964E0}" dt="2023-03-04T10:26:46.145" v="851"/>
        <pc:sldMkLst>
          <pc:docMk/>
          <pc:sldMk cId="3371819825" sldId="2147473466"/>
        </pc:sldMkLst>
      </pc:sldChg>
      <pc:sldChg chg="modSp mod">
        <pc:chgData name="Tường SKHĐT" userId="ab9568c39a88b08a" providerId="LiveId" clId="{9C79F668-7762-49B4-B8C4-EF402FF964E0}" dt="2023-03-04T11:26:44.738" v="1693" actId="20577"/>
        <pc:sldMkLst>
          <pc:docMk/>
          <pc:sldMk cId="914573862" sldId="2147473474"/>
        </pc:sldMkLst>
        <pc:spChg chg="mod">
          <ac:chgData name="Tường SKHĐT" userId="ab9568c39a88b08a" providerId="LiveId" clId="{9C79F668-7762-49B4-B8C4-EF402FF964E0}" dt="2023-03-04T10:26:30.412" v="850" actId="20577"/>
          <ac:spMkLst>
            <pc:docMk/>
            <pc:sldMk cId="914573862" sldId="2147473474"/>
            <ac:spMk id="3" creationId="{D56CE58D-FB5F-1D10-4BAF-E7B0E8BB9294}"/>
          </ac:spMkLst>
        </pc:spChg>
        <pc:graphicFrameChg chg="mod">
          <ac:chgData name="Tường SKHĐT" userId="ab9568c39a88b08a" providerId="LiveId" clId="{9C79F668-7762-49B4-B8C4-EF402FF964E0}" dt="2023-03-04T11:26:44.738" v="1693" actId="20577"/>
          <ac:graphicFrameMkLst>
            <pc:docMk/>
            <pc:sldMk cId="914573862" sldId="2147473474"/>
            <ac:graphicFrameMk id="2" creationId="{A091C242-D65F-E0C5-16D6-B15756DA14A6}"/>
          </ac:graphicFrameMkLst>
        </pc:graphicFrameChg>
      </pc:sldChg>
      <pc:sldChg chg="modSp mod">
        <pc:chgData name="Tường SKHĐT" userId="ab9568c39a88b08a" providerId="LiveId" clId="{9C79F668-7762-49B4-B8C4-EF402FF964E0}" dt="2023-03-04T11:28:43.799" v="1787" actId="1035"/>
        <pc:sldMkLst>
          <pc:docMk/>
          <pc:sldMk cId="3133831680" sldId="2147473476"/>
        </pc:sldMkLst>
        <pc:spChg chg="mod">
          <ac:chgData name="Tường SKHĐT" userId="ab9568c39a88b08a" providerId="LiveId" clId="{9C79F668-7762-49B4-B8C4-EF402FF964E0}" dt="2023-03-04T10:26:26.524" v="847" actId="20577"/>
          <ac:spMkLst>
            <pc:docMk/>
            <pc:sldMk cId="3133831680" sldId="2147473476"/>
            <ac:spMk id="3" creationId="{D56CE58D-FB5F-1D10-4BAF-E7B0E8BB9294}"/>
          </ac:spMkLst>
        </pc:spChg>
        <pc:graphicFrameChg chg="mod">
          <ac:chgData name="Tường SKHĐT" userId="ab9568c39a88b08a" providerId="LiveId" clId="{9C79F668-7762-49B4-B8C4-EF402FF964E0}" dt="2023-03-04T11:28:43.799" v="1787" actId="1035"/>
          <ac:graphicFrameMkLst>
            <pc:docMk/>
            <pc:sldMk cId="3133831680" sldId="2147473476"/>
            <ac:graphicFrameMk id="2" creationId="{A091C242-D65F-E0C5-16D6-B15756DA14A6}"/>
          </ac:graphicFrameMkLst>
        </pc:graphicFrameChg>
      </pc:sldChg>
      <pc:sldChg chg="addSp delSp modSp mod">
        <pc:chgData name="Tường SKHĐT" userId="ab9568c39a88b08a" providerId="LiveId" clId="{9C79F668-7762-49B4-B8C4-EF402FF964E0}" dt="2023-03-04T09:20:59.714" v="191" actId="1076"/>
        <pc:sldMkLst>
          <pc:docMk/>
          <pc:sldMk cId="4092993056" sldId="2147473513"/>
        </pc:sldMkLst>
        <pc:spChg chg="mod">
          <ac:chgData name="Tường SKHĐT" userId="ab9568c39a88b08a" providerId="LiveId" clId="{9C79F668-7762-49B4-B8C4-EF402FF964E0}" dt="2023-03-04T09:20:59.714" v="191" actId="1076"/>
          <ac:spMkLst>
            <pc:docMk/>
            <pc:sldMk cId="4092993056" sldId="2147473513"/>
            <ac:spMk id="4" creationId="{00000000-0000-0000-0000-000000000000}"/>
          </ac:spMkLst>
        </pc:spChg>
        <pc:graphicFrameChg chg="add mod modGraphic">
          <ac:chgData name="Tường SKHĐT" userId="ab9568c39a88b08a" providerId="LiveId" clId="{9C79F668-7762-49B4-B8C4-EF402FF964E0}" dt="2023-03-04T09:20:48.021" v="190" actId="1076"/>
          <ac:graphicFrameMkLst>
            <pc:docMk/>
            <pc:sldMk cId="4092993056" sldId="2147473513"/>
            <ac:graphicFrameMk id="2" creationId="{0D8B5243-E79C-12EE-061D-B81A1D20A95D}"/>
          </ac:graphicFrameMkLst>
        </pc:graphicFrameChg>
        <pc:graphicFrameChg chg="del mod modGraphic">
          <ac:chgData name="Tường SKHĐT" userId="ab9568c39a88b08a" providerId="LiveId" clId="{9C79F668-7762-49B4-B8C4-EF402FF964E0}" dt="2023-03-04T09:16:41.197" v="170" actId="21"/>
          <ac:graphicFrameMkLst>
            <pc:docMk/>
            <pc:sldMk cId="4092993056" sldId="2147473513"/>
            <ac:graphicFrameMk id="7" creationId="{44FD6820-12F5-8C73-583C-7D9F46E04367}"/>
          </ac:graphicFrameMkLst>
        </pc:graphicFrameChg>
      </pc:sldChg>
      <pc:sldChg chg="modSp mod">
        <pc:chgData name="Tường SKHĐT" userId="ab9568c39a88b08a" providerId="LiveId" clId="{9C79F668-7762-49B4-B8C4-EF402FF964E0}" dt="2023-03-04T09:48:20.563" v="290" actId="20577"/>
        <pc:sldMkLst>
          <pc:docMk/>
          <pc:sldMk cId="1563031195" sldId="2147473516"/>
        </pc:sldMkLst>
        <pc:spChg chg="mod">
          <ac:chgData name="Tường SKHĐT" userId="ab9568c39a88b08a" providerId="LiveId" clId="{9C79F668-7762-49B4-B8C4-EF402FF964E0}" dt="2023-03-04T09:48:20.563" v="290" actId="20577"/>
          <ac:spMkLst>
            <pc:docMk/>
            <pc:sldMk cId="1563031195" sldId="2147473516"/>
            <ac:spMk id="4" creationId="{16D24723-A233-03FF-2329-1817AB93339D}"/>
          </ac:spMkLst>
        </pc:spChg>
        <pc:graphicFrameChg chg="mod modGraphic">
          <ac:chgData name="Tường SKHĐT" userId="ab9568c39a88b08a" providerId="LiveId" clId="{9C79F668-7762-49B4-B8C4-EF402FF964E0}" dt="2023-03-04T09:47:50.367" v="265" actId="1076"/>
          <ac:graphicFrameMkLst>
            <pc:docMk/>
            <pc:sldMk cId="1563031195" sldId="2147473516"/>
            <ac:graphicFrameMk id="8" creationId="{B5E5335D-2EED-82AF-3A59-FAE8BB94EAE1}"/>
          </ac:graphicFrameMkLst>
        </pc:graphicFrameChg>
      </pc:sldChg>
      <pc:sldChg chg="addSp modSp mod">
        <pc:chgData name="Tường SKHĐT" userId="ab9568c39a88b08a" providerId="LiveId" clId="{9C79F668-7762-49B4-B8C4-EF402FF964E0}" dt="2023-03-04T11:22:34.767" v="1607" actId="1076"/>
        <pc:sldMkLst>
          <pc:docMk/>
          <pc:sldMk cId="3024842976" sldId="2147473518"/>
        </pc:sldMkLst>
        <pc:spChg chg="mod">
          <ac:chgData name="Tường SKHĐT" userId="ab9568c39a88b08a" providerId="LiveId" clId="{9C79F668-7762-49B4-B8C4-EF402FF964E0}" dt="2023-03-04T10:28:07.771" v="933" actId="20577"/>
          <ac:spMkLst>
            <pc:docMk/>
            <pc:sldMk cId="3024842976" sldId="2147473518"/>
            <ac:spMk id="4" creationId="{16D24723-A233-03FF-2329-1817AB93339D}"/>
          </ac:spMkLst>
        </pc:spChg>
        <pc:graphicFrameChg chg="mod modGraphic">
          <ac:chgData name="Tường SKHĐT" userId="ab9568c39a88b08a" providerId="LiveId" clId="{9C79F668-7762-49B4-B8C4-EF402FF964E0}" dt="2023-03-04T11:22:34.767" v="1607" actId="1076"/>
          <ac:graphicFrameMkLst>
            <pc:docMk/>
            <pc:sldMk cId="3024842976" sldId="2147473518"/>
            <ac:graphicFrameMk id="8" creationId="{B5E5335D-2EED-82AF-3A59-FAE8BB94EAE1}"/>
          </ac:graphicFrameMkLst>
        </pc:graphicFrameChg>
        <pc:picChg chg="add mod">
          <ac:chgData name="Tường SKHĐT" userId="ab9568c39a88b08a" providerId="LiveId" clId="{9C79F668-7762-49B4-B8C4-EF402FF964E0}" dt="2023-03-04T11:22:24.451" v="1603" actId="1076"/>
          <ac:picMkLst>
            <pc:docMk/>
            <pc:sldMk cId="3024842976" sldId="2147473518"/>
            <ac:picMk id="3" creationId="{C3BEF987-00D8-EC17-C0FA-5ED70A56A5FD}"/>
          </ac:picMkLst>
        </pc:picChg>
      </pc:sldChg>
      <pc:sldChg chg="addSp modSp mod">
        <pc:chgData name="Tường SKHĐT" userId="ab9568c39a88b08a" providerId="LiveId" clId="{9C79F668-7762-49B4-B8C4-EF402FF964E0}" dt="2023-03-04T11:45:48.097" v="2202" actId="1076"/>
        <pc:sldMkLst>
          <pc:docMk/>
          <pc:sldMk cId="2957479116" sldId="2147473519"/>
        </pc:sldMkLst>
        <pc:spChg chg="mod">
          <ac:chgData name="Tường SKHĐT" userId="ab9568c39a88b08a" providerId="LiveId" clId="{9C79F668-7762-49B4-B8C4-EF402FF964E0}" dt="2023-03-04T10:28:50.602" v="943" actId="20577"/>
          <ac:spMkLst>
            <pc:docMk/>
            <pc:sldMk cId="2957479116" sldId="2147473519"/>
            <ac:spMk id="4" creationId="{16D24723-A233-03FF-2329-1817AB93339D}"/>
          </ac:spMkLst>
        </pc:spChg>
        <pc:spChg chg="mod">
          <ac:chgData name="Tường SKHĐT" userId="ab9568c39a88b08a" providerId="LiveId" clId="{9C79F668-7762-49B4-B8C4-EF402FF964E0}" dt="2023-03-04T11:45:48.097" v="2202" actId="1076"/>
          <ac:spMkLst>
            <pc:docMk/>
            <pc:sldMk cId="2957479116" sldId="2147473519"/>
            <ac:spMk id="25" creationId="{01DC26C3-E6F4-C27A-8624-3A65D81B6008}"/>
          </ac:spMkLst>
        </pc:spChg>
        <pc:graphicFrameChg chg="mod modGraphic">
          <ac:chgData name="Tường SKHĐT" userId="ab9568c39a88b08a" providerId="LiveId" clId="{9C79F668-7762-49B4-B8C4-EF402FF964E0}" dt="2023-03-04T11:45:42.093" v="2199" actId="14100"/>
          <ac:graphicFrameMkLst>
            <pc:docMk/>
            <pc:sldMk cId="2957479116" sldId="2147473519"/>
            <ac:graphicFrameMk id="8" creationId="{B5E5335D-2EED-82AF-3A59-FAE8BB94EAE1}"/>
          </ac:graphicFrameMkLst>
        </pc:graphicFrameChg>
        <pc:picChg chg="add mod">
          <ac:chgData name="Tường SKHĐT" userId="ab9568c39a88b08a" providerId="LiveId" clId="{9C79F668-7762-49B4-B8C4-EF402FF964E0}" dt="2023-03-04T11:45:43.687" v="2200" actId="1076"/>
          <ac:picMkLst>
            <pc:docMk/>
            <pc:sldMk cId="2957479116" sldId="2147473519"/>
            <ac:picMk id="2" creationId="{8AD87206-4C50-4DB5-8F5A-727327E5FF65}"/>
          </ac:picMkLst>
        </pc:picChg>
        <pc:picChg chg="add mod">
          <ac:chgData name="Tường SKHĐT" userId="ab9568c39a88b08a" providerId="LiveId" clId="{9C79F668-7762-49B4-B8C4-EF402FF964E0}" dt="2023-03-04T11:45:45.689" v="2201" actId="1076"/>
          <ac:picMkLst>
            <pc:docMk/>
            <pc:sldMk cId="2957479116" sldId="2147473519"/>
            <ac:picMk id="3" creationId="{65E2C9CA-C74B-BF6D-7601-969BE1A28E59}"/>
          </ac:picMkLst>
        </pc:picChg>
      </pc:sldChg>
      <pc:sldChg chg="addSp modSp mod">
        <pc:chgData name="Tường SKHĐT" userId="ab9568c39a88b08a" providerId="LiveId" clId="{9C79F668-7762-49B4-B8C4-EF402FF964E0}" dt="2023-03-04T11:48:32.234" v="2434" actId="20577"/>
        <pc:sldMkLst>
          <pc:docMk/>
          <pc:sldMk cId="2307671257" sldId="2147473521"/>
        </pc:sldMkLst>
        <pc:spChg chg="mod">
          <ac:chgData name="Tường SKHĐT" userId="ab9568c39a88b08a" providerId="LiveId" clId="{9C79F668-7762-49B4-B8C4-EF402FF964E0}" dt="2023-03-04T11:48:32.234" v="2434" actId="20577"/>
          <ac:spMkLst>
            <pc:docMk/>
            <pc:sldMk cId="2307671257" sldId="2147473521"/>
            <ac:spMk id="4" creationId="{16D24723-A233-03FF-2329-1817AB93339D}"/>
          </ac:spMkLst>
        </pc:spChg>
        <pc:graphicFrameChg chg="mod modGraphic">
          <ac:chgData name="Tường SKHĐT" userId="ab9568c39a88b08a" providerId="LiveId" clId="{9C79F668-7762-49B4-B8C4-EF402FF964E0}" dt="2023-03-04T11:48:24.699" v="2432" actId="20577"/>
          <ac:graphicFrameMkLst>
            <pc:docMk/>
            <pc:sldMk cId="2307671257" sldId="2147473521"/>
            <ac:graphicFrameMk id="8" creationId="{B5E5335D-2EED-82AF-3A59-FAE8BB94EAE1}"/>
          </ac:graphicFrameMkLst>
        </pc:graphicFrameChg>
        <pc:picChg chg="add mod">
          <ac:chgData name="Tường SKHĐT" userId="ab9568c39a88b08a" providerId="LiveId" clId="{9C79F668-7762-49B4-B8C4-EF402FF964E0}" dt="2023-03-04T11:48:11.461" v="2388" actId="1076"/>
          <ac:picMkLst>
            <pc:docMk/>
            <pc:sldMk cId="2307671257" sldId="2147473521"/>
            <ac:picMk id="2" creationId="{A99A8BED-D9F8-C6E6-298A-EE3B8881B495}"/>
          </ac:picMkLst>
        </pc:picChg>
        <pc:picChg chg="add mod">
          <ac:chgData name="Tường SKHĐT" userId="ab9568c39a88b08a" providerId="LiveId" clId="{9C79F668-7762-49B4-B8C4-EF402FF964E0}" dt="2023-03-04T11:48:10.103" v="2387" actId="1076"/>
          <ac:picMkLst>
            <pc:docMk/>
            <pc:sldMk cId="2307671257" sldId="2147473521"/>
            <ac:picMk id="3" creationId="{22A7FC88-1858-3541-02D2-84374FC6A429}"/>
          </ac:picMkLst>
        </pc:picChg>
      </pc:sldChg>
      <pc:sldChg chg="addSp delSp modSp mod">
        <pc:chgData name="Tường SKHĐT" userId="ab9568c39a88b08a" providerId="LiveId" clId="{9C79F668-7762-49B4-B8C4-EF402FF964E0}" dt="2023-03-04T11:33:06.001" v="1945" actId="1035"/>
        <pc:sldMkLst>
          <pc:docMk/>
          <pc:sldMk cId="2802465441" sldId="2147473522"/>
        </pc:sldMkLst>
        <pc:spChg chg="mod">
          <ac:chgData name="Tường SKHĐT" userId="ab9568c39a88b08a" providerId="LiveId" clId="{9C79F668-7762-49B4-B8C4-EF402FF964E0}" dt="2023-03-04T10:29:40.528" v="954" actId="20577"/>
          <ac:spMkLst>
            <pc:docMk/>
            <pc:sldMk cId="2802465441" sldId="2147473522"/>
            <ac:spMk id="4" creationId="{16D24723-A233-03FF-2329-1817AB93339D}"/>
          </ac:spMkLst>
        </pc:spChg>
        <pc:graphicFrameChg chg="mod modGraphic">
          <ac:chgData name="Tường SKHĐT" userId="ab9568c39a88b08a" providerId="LiveId" clId="{9C79F668-7762-49B4-B8C4-EF402FF964E0}" dt="2023-03-04T11:31:27.833" v="1900" actId="20577"/>
          <ac:graphicFrameMkLst>
            <pc:docMk/>
            <pc:sldMk cId="2802465441" sldId="2147473522"/>
            <ac:graphicFrameMk id="9" creationId="{0FC7DBA8-03B5-1D5D-B7A1-68AA6F62DF7E}"/>
          </ac:graphicFrameMkLst>
        </pc:graphicFrameChg>
        <pc:picChg chg="add del mod">
          <ac:chgData name="Tường SKHĐT" userId="ab9568c39a88b08a" providerId="LiveId" clId="{9C79F668-7762-49B4-B8C4-EF402FF964E0}" dt="2023-03-04T10:30:05.014" v="955" actId="21"/>
          <ac:picMkLst>
            <pc:docMk/>
            <pc:sldMk cId="2802465441" sldId="2147473522"/>
            <ac:picMk id="2" creationId="{499630F7-2A3A-7BA8-4A6A-3CA63A25683F}"/>
          </ac:picMkLst>
        </pc:picChg>
        <pc:picChg chg="add mod">
          <ac:chgData name="Tường SKHĐT" userId="ab9568c39a88b08a" providerId="LiveId" clId="{9C79F668-7762-49B4-B8C4-EF402FF964E0}" dt="2023-03-04T11:33:01.529" v="1926" actId="1035"/>
          <ac:picMkLst>
            <pc:docMk/>
            <pc:sldMk cId="2802465441" sldId="2147473522"/>
            <ac:picMk id="3" creationId="{F1C86665-484F-794D-CFA7-5A2693500FE9}"/>
          </ac:picMkLst>
        </pc:picChg>
        <pc:picChg chg="add mod">
          <ac:chgData name="Tường SKHĐT" userId="ab9568c39a88b08a" providerId="LiveId" clId="{9C79F668-7762-49B4-B8C4-EF402FF964E0}" dt="2023-03-04T11:33:06.001" v="1945" actId="1035"/>
          <ac:picMkLst>
            <pc:docMk/>
            <pc:sldMk cId="2802465441" sldId="2147473522"/>
            <ac:picMk id="7" creationId="{26274E26-13C4-619E-13E0-2799671F389F}"/>
          </ac:picMkLst>
        </pc:picChg>
      </pc:sldChg>
      <pc:sldChg chg="modSp mod">
        <pc:chgData name="Tường SKHĐT" userId="ab9568c39a88b08a" providerId="LiveId" clId="{9C79F668-7762-49B4-B8C4-EF402FF964E0}" dt="2023-03-04T11:16:38.560" v="1474" actId="20577"/>
        <pc:sldMkLst>
          <pc:docMk/>
          <pc:sldMk cId="1822639037" sldId="2147473524"/>
        </pc:sldMkLst>
        <pc:spChg chg="mod">
          <ac:chgData name="Tường SKHĐT" userId="ab9568c39a88b08a" providerId="LiveId" clId="{9C79F668-7762-49B4-B8C4-EF402FF964E0}" dt="2023-03-04T11:04:03.879" v="1034" actId="20577"/>
          <ac:spMkLst>
            <pc:docMk/>
            <pc:sldMk cId="1822639037" sldId="2147473524"/>
            <ac:spMk id="6" creationId="{8F441EC3-0BA7-4F59-8AD1-8445D9757715}"/>
          </ac:spMkLst>
        </pc:spChg>
        <pc:spChg chg="mod">
          <ac:chgData name="Tường SKHĐT" userId="ab9568c39a88b08a" providerId="LiveId" clId="{9C79F668-7762-49B4-B8C4-EF402FF964E0}" dt="2023-03-04T11:04:15.119" v="1054" actId="20577"/>
          <ac:spMkLst>
            <pc:docMk/>
            <pc:sldMk cId="1822639037" sldId="2147473524"/>
            <ac:spMk id="7" creationId="{6C0C263C-8AC5-4EA9-6623-5D53F070A466}"/>
          </ac:spMkLst>
        </pc:spChg>
        <pc:spChg chg="mod">
          <ac:chgData name="Tường SKHĐT" userId="ab9568c39a88b08a" providerId="LiveId" clId="{9C79F668-7762-49B4-B8C4-EF402FF964E0}" dt="2023-03-04T11:04:24.648" v="1067" actId="20577"/>
          <ac:spMkLst>
            <pc:docMk/>
            <pc:sldMk cId="1822639037" sldId="2147473524"/>
            <ac:spMk id="8" creationId="{BE3FBCC4-B1C6-7537-0DC2-C1A9645EA02C}"/>
          </ac:spMkLst>
        </pc:spChg>
        <pc:spChg chg="mod">
          <ac:chgData name="Tường SKHĐT" userId="ab9568c39a88b08a" providerId="LiveId" clId="{9C79F668-7762-49B4-B8C4-EF402FF964E0}" dt="2023-03-04T11:04:32.967" v="1079" actId="20577"/>
          <ac:spMkLst>
            <pc:docMk/>
            <pc:sldMk cId="1822639037" sldId="2147473524"/>
            <ac:spMk id="9" creationId="{BF2EF6F2-669D-669D-8EC0-42EAD0DB9009}"/>
          </ac:spMkLst>
        </pc:spChg>
        <pc:spChg chg="mod">
          <ac:chgData name="Tường SKHĐT" userId="ab9568c39a88b08a" providerId="LiveId" clId="{9C79F668-7762-49B4-B8C4-EF402FF964E0}" dt="2023-03-04T11:04:36.197" v="1080" actId="1076"/>
          <ac:spMkLst>
            <pc:docMk/>
            <pc:sldMk cId="1822639037" sldId="2147473524"/>
            <ac:spMk id="11" creationId="{3C85A78B-8864-7D3C-593A-0204297AF05C}"/>
          </ac:spMkLst>
        </pc:spChg>
        <pc:spChg chg="mod">
          <ac:chgData name="Tường SKHĐT" userId="ab9568c39a88b08a" providerId="LiveId" clId="{9C79F668-7762-49B4-B8C4-EF402FF964E0}" dt="2023-03-04T11:16:14.594" v="1466" actId="14100"/>
          <ac:spMkLst>
            <pc:docMk/>
            <pc:sldMk cId="1822639037" sldId="2147473524"/>
            <ac:spMk id="19" creationId="{1D58FBF3-9576-499C-CA58-084366E54F8C}"/>
          </ac:spMkLst>
        </pc:spChg>
        <pc:spChg chg="mod">
          <ac:chgData name="Tường SKHĐT" userId="ab9568c39a88b08a" providerId="LiveId" clId="{9C79F668-7762-49B4-B8C4-EF402FF964E0}" dt="2023-03-04T11:16:38.560" v="1474" actId="20577"/>
          <ac:spMkLst>
            <pc:docMk/>
            <pc:sldMk cId="1822639037" sldId="2147473524"/>
            <ac:spMk id="20" creationId="{46499BF0-4D64-5CB9-D715-F6433918CD00}"/>
          </ac:spMkLst>
        </pc:spChg>
        <pc:spChg chg="mod">
          <ac:chgData name="Tường SKHĐT" userId="ab9568c39a88b08a" providerId="LiveId" clId="{9C79F668-7762-49B4-B8C4-EF402FF964E0}" dt="2023-03-04T11:16:10.174" v="1464" actId="14100"/>
          <ac:spMkLst>
            <pc:docMk/>
            <pc:sldMk cId="1822639037" sldId="2147473524"/>
            <ac:spMk id="21" creationId="{594D60B9-0CD0-31D2-BDDF-43AA9FE41EBF}"/>
          </ac:spMkLst>
        </pc:spChg>
        <pc:spChg chg="mod">
          <ac:chgData name="Tường SKHĐT" userId="ab9568c39a88b08a" providerId="LiveId" clId="{9C79F668-7762-49B4-B8C4-EF402FF964E0}" dt="2023-03-04T11:16:31.941" v="1472" actId="1076"/>
          <ac:spMkLst>
            <pc:docMk/>
            <pc:sldMk cId="1822639037" sldId="2147473524"/>
            <ac:spMk id="22" creationId="{C2F6210E-E023-1A34-F60D-160959C67461}"/>
          </ac:spMkLst>
        </pc:spChg>
      </pc:sldChg>
      <pc:sldChg chg="modSp mod">
        <pc:chgData name="Tường SKHĐT" userId="ab9568c39a88b08a" providerId="LiveId" clId="{9C79F668-7762-49B4-B8C4-EF402FF964E0}" dt="2023-03-04T11:05:53.807" v="1127" actId="20577"/>
        <pc:sldMkLst>
          <pc:docMk/>
          <pc:sldMk cId="2447285934" sldId="2147473525"/>
        </pc:sldMkLst>
        <pc:spChg chg="mod">
          <ac:chgData name="Tường SKHĐT" userId="ab9568c39a88b08a" providerId="LiveId" clId="{9C79F668-7762-49B4-B8C4-EF402FF964E0}" dt="2023-03-04T11:04:51.751" v="1097" actId="20577"/>
          <ac:spMkLst>
            <pc:docMk/>
            <pc:sldMk cId="2447285934" sldId="2147473525"/>
            <ac:spMk id="50" creationId="{00000000-0000-0000-0000-000000000000}"/>
          </ac:spMkLst>
        </pc:spChg>
        <pc:spChg chg="mod">
          <ac:chgData name="Tường SKHĐT" userId="ab9568c39a88b08a" providerId="LiveId" clId="{9C79F668-7762-49B4-B8C4-EF402FF964E0}" dt="2023-03-04T11:05:01.015" v="1108" actId="20577"/>
          <ac:spMkLst>
            <pc:docMk/>
            <pc:sldMk cId="2447285934" sldId="2147473525"/>
            <ac:spMk id="65" creationId="{00000000-0000-0000-0000-000000000000}"/>
          </ac:spMkLst>
        </pc:spChg>
        <pc:spChg chg="mod">
          <ac:chgData name="Tường SKHĐT" userId="ab9568c39a88b08a" providerId="LiveId" clId="{9C79F668-7762-49B4-B8C4-EF402FF964E0}" dt="2023-03-04T11:05:53.807" v="1127" actId="20577"/>
          <ac:spMkLst>
            <pc:docMk/>
            <pc:sldMk cId="2447285934" sldId="2147473525"/>
            <ac:spMk id="67" creationId="{00000000-0000-0000-0000-000000000000}"/>
          </ac:spMkLst>
        </pc:spChg>
      </pc:sldChg>
      <pc:sldChg chg="addSp delSp modSp mod">
        <pc:chgData name="Tường SKHĐT" userId="ab9568c39a88b08a" providerId="LiveId" clId="{9C79F668-7762-49B4-B8C4-EF402FF964E0}" dt="2023-03-04T11:44:29.211" v="2172" actId="1076"/>
        <pc:sldMkLst>
          <pc:docMk/>
          <pc:sldMk cId="2589014937" sldId="2147473526"/>
        </pc:sldMkLst>
        <pc:spChg chg="mod">
          <ac:chgData name="Tường SKHĐT" userId="ab9568c39a88b08a" providerId="LiveId" clId="{9C79F668-7762-49B4-B8C4-EF402FF964E0}" dt="2023-03-04T11:23:54.370" v="1627" actId="20577"/>
          <ac:spMkLst>
            <pc:docMk/>
            <pc:sldMk cId="2589014937" sldId="2147473526"/>
            <ac:spMk id="3" creationId="{A0D5D58A-756E-802D-A09E-1BEA6D184E77}"/>
          </ac:spMkLst>
        </pc:spChg>
        <pc:spChg chg="mod">
          <ac:chgData name="Tường SKHĐT" userId="ab9568c39a88b08a" providerId="LiveId" clId="{9C79F668-7762-49B4-B8C4-EF402FF964E0}" dt="2023-03-04T11:24:54.659" v="1682" actId="20577"/>
          <ac:spMkLst>
            <pc:docMk/>
            <pc:sldMk cId="2589014937" sldId="2147473526"/>
            <ac:spMk id="16" creationId="{CD1FFBD1-4EFA-ED54-8F81-E3C9559069D4}"/>
          </ac:spMkLst>
        </pc:spChg>
        <pc:spChg chg="mod">
          <ac:chgData name="Tường SKHĐT" userId="ab9568c39a88b08a" providerId="LiveId" clId="{9C79F668-7762-49B4-B8C4-EF402FF964E0}" dt="2023-03-04T11:24:23.711" v="1646" actId="688"/>
          <ac:spMkLst>
            <pc:docMk/>
            <pc:sldMk cId="2589014937" sldId="2147473526"/>
            <ac:spMk id="19" creationId="{122A9A1C-AFFE-3821-B2D0-B1BF037AF2EA}"/>
          </ac:spMkLst>
        </pc:spChg>
        <pc:spChg chg="mod">
          <ac:chgData name="Tường SKHĐT" userId="ab9568c39a88b08a" providerId="LiveId" clId="{9C79F668-7762-49B4-B8C4-EF402FF964E0}" dt="2023-03-04T11:24:19.056" v="1645" actId="20577"/>
          <ac:spMkLst>
            <pc:docMk/>
            <pc:sldMk cId="2589014937" sldId="2147473526"/>
            <ac:spMk id="720" creationId="{00000000-0000-0000-0000-000000000000}"/>
          </ac:spMkLst>
        </pc:spChg>
        <pc:spChg chg="mod">
          <ac:chgData name="Tường SKHĐT" userId="ab9568c39a88b08a" providerId="LiveId" clId="{9C79F668-7762-49B4-B8C4-EF402FF964E0}" dt="2023-03-04T11:24:40.587" v="1666" actId="20577"/>
          <ac:spMkLst>
            <pc:docMk/>
            <pc:sldMk cId="2589014937" sldId="2147473526"/>
            <ac:spMk id="726" creationId="{00000000-0000-0000-0000-000000000000}"/>
          </ac:spMkLst>
        </pc:spChg>
        <pc:picChg chg="del">
          <ac:chgData name="Tường SKHĐT" userId="ab9568c39a88b08a" providerId="LiveId" clId="{9C79F668-7762-49B4-B8C4-EF402FF964E0}" dt="2023-03-04T11:44:10.091" v="2164" actId="21"/>
          <ac:picMkLst>
            <pc:docMk/>
            <pc:sldMk cId="2589014937" sldId="2147473526"/>
            <ac:picMk id="4" creationId="{E24D9673-F5A5-66B1-2863-903204BC6ED7}"/>
          </ac:picMkLst>
        </pc:picChg>
        <pc:picChg chg="add mod ord">
          <ac:chgData name="Tường SKHĐT" userId="ab9568c39a88b08a" providerId="LiveId" clId="{9C79F668-7762-49B4-B8C4-EF402FF964E0}" dt="2023-03-04T11:44:29.211" v="2172" actId="1076"/>
          <ac:picMkLst>
            <pc:docMk/>
            <pc:sldMk cId="2589014937" sldId="2147473526"/>
            <ac:picMk id="5" creationId="{FA953A66-BAF1-340A-A407-B9DFF5A3A068}"/>
          </ac:picMkLst>
        </pc:picChg>
        <pc:picChg chg="add del mod">
          <ac:chgData name="Tường SKHĐT" userId="ab9568c39a88b08a" providerId="LiveId" clId="{9C79F668-7762-49B4-B8C4-EF402FF964E0}" dt="2023-03-04T11:44:27.638" v="2171" actId="21"/>
          <ac:picMkLst>
            <pc:docMk/>
            <pc:sldMk cId="2589014937" sldId="2147473526"/>
            <ac:picMk id="6" creationId="{46C83B22-B4CA-2FCA-BD4E-632477E79A1C}"/>
          </ac:picMkLst>
        </pc:picChg>
        <pc:cxnChg chg="mod ord">
          <ac:chgData name="Tường SKHĐT" userId="ab9568c39a88b08a" providerId="LiveId" clId="{9C79F668-7762-49B4-B8C4-EF402FF964E0}" dt="2023-03-04T11:44:20.596" v="2169" actId="167"/>
          <ac:cxnSpMkLst>
            <pc:docMk/>
            <pc:sldMk cId="2589014937" sldId="2147473526"/>
            <ac:cxnSpMk id="26" creationId="{169C6F43-6D5B-95B4-AB42-3B41CFB5B6B7}"/>
          </ac:cxnSpMkLst>
        </pc:cxnChg>
      </pc:sldChg>
      <pc:sldChg chg="addSp delSp modSp mod">
        <pc:chgData name="Tường SKHĐT" userId="ab9568c39a88b08a" providerId="LiveId" clId="{9C79F668-7762-49B4-B8C4-EF402FF964E0}" dt="2023-03-04T10:14:16.514" v="757" actId="20577"/>
        <pc:sldMkLst>
          <pc:docMk/>
          <pc:sldMk cId="269414345" sldId="2147473528"/>
        </pc:sldMkLst>
        <pc:spChg chg="mod">
          <ac:chgData name="Tường SKHĐT" userId="ab9568c39a88b08a" providerId="LiveId" clId="{9C79F668-7762-49B4-B8C4-EF402FF964E0}" dt="2023-03-04T10:11:06.771" v="662" actId="20577"/>
          <ac:spMkLst>
            <pc:docMk/>
            <pc:sldMk cId="269414345" sldId="2147473528"/>
            <ac:spMk id="4" creationId="{16D24723-A233-03FF-2329-1817AB93339D}"/>
          </ac:spMkLst>
        </pc:spChg>
        <pc:graphicFrameChg chg="mod modGraphic">
          <ac:chgData name="Tường SKHĐT" userId="ab9568c39a88b08a" providerId="LiveId" clId="{9C79F668-7762-49B4-B8C4-EF402FF964E0}" dt="2023-03-04T10:12:26.142" v="675" actId="1076"/>
          <ac:graphicFrameMkLst>
            <pc:docMk/>
            <pc:sldMk cId="269414345" sldId="2147473528"/>
            <ac:graphicFrameMk id="8" creationId="{B5E5335D-2EED-82AF-3A59-FAE8BB94EAE1}"/>
          </ac:graphicFrameMkLst>
        </pc:graphicFrameChg>
        <pc:graphicFrameChg chg="add del mod">
          <ac:chgData name="Tường SKHĐT" userId="ab9568c39a88b08a" providerId="LiveId" clId="{9C79F668-7762-49B4-B8C4-EF402FF964E0}" dt="2023-03-04T10:11:46.840" v="664"/>
          <ac:graphicFrameMkLst>
            <pc:docMk/>
            <pc:sldMk cId="269414345" sldId="2147473528"/>
            <ac:graphicFrameMk id="11" creationId="{014387D7-9A38-DE05-067D-39CFD8CBB2FA}"/>
          </ac:graphicFrameMkLst>
        </pc:graphicFrameChg>
        <pc:graphicFrameChg chg="add mod modGraphic">
          <ac:chgData name="Tường SKHĐT" userId="ab9568c39a88b08a" providerId="LiveId" clId="{9C79F668-7762-49B4-B8C4-EF402FF964E0}" dt="2023-03-04T10:14:16.514" v="757" actId="20577"/>
          <ac:graphicFrameMkLst>
            <pc:docMk/>
            <pc:sldMk cId="269414345" sldId="2147473528"/>
            <ac:graphicFrameMk id="12" creationId="{109A2457-F4BA-9DA8-51CF-3493BDD4EE8F}"/>
          </ac:graphicFrameMkLst>
        </pc:graphicFrameChg>
        <pc:picChg chg="del">
          <ac:chgData name="Tường SKHĐT" userId="ab9568c39a88b08a" providerId="LiveId" clId="{9C79F668-7762-49B4-B8C4-EF402FF964E0}" dt="2023-03-04T10:07:35.638" v="582" actId="21"/>
          <ac:picMkLst>
            <pc:docMk/>
            <pc:sldMk cId="269414345" sldId="2147473528"/>
            <ac:picMk id="3" creationId="{FDA9AD67-878F-8631-AF7B-6D027FFB7EA0}"/>
          </ac:picMkLst>
        </pc:picChg>
        <pc:picChg chg="add del mod">
          <ac:chgData name="Tường SKHĐT" userId="ab9568c39a88b08a" providerId="LiveId" clId="{9C79F668-7762-49B4-B8C4-EF402FF964E0}" dt="2023-03-04T10:09:06.399" v="588" actId="21"/>
          <ac:picMkLst>
            <pc:docMk/>
            <pc:sldMk cId="269414345" sldId="2147473528"/>
            <ac:picMk id="5" creationId="{D4B20B2D-CB74-D485-45C0-9F1EC7BC43FE}"/>
          </ac:picMkLst>
        </pc:picChg>
        <pc:picChg chg="add del mod">
          <ac:chgData name="Tường SKHĐT" userId="ab9568c39a88b08a" providerId="LiveId" clId="{9C79F668-7762-49B4-B8C4-EF402FF964E0}" dt="2023-03-04T10:09:09.608" v="590"/>
          <ac:picMkLst>
            <pc:docMk/>
            <pc:sldMk cId="269414345" sldId="2147473528"/>
            <ac:picMk id="7" creationId="{6C71196E-D7A2-7D43-BF13-AADFC11445C9}"/>
          </ac:picMkLst>
        </pc:picChg>
        <pc:picChg chg="add mod">
          <ac:chgData name="Tường SKHĐT" userId="ab9568c39a88b08a" providerId="LiveId" clId="{9C79F668-7762-49B4-B8C4-EF402FF964E0}" dt="2023-03-04T10:13:21.297" v="686" actId="1076"/>
          <ac:picMkLst>
            <pc:docMk/>
            <pc:sldMk cId="269414345" sldId="2147473528"/>
            <ac:picMk id="10" creationId="{98D5E116-9007-7C05-526C-FE5AD4674A8B}"/>
          </ac:picMkLst>
        </pc:picChg>
      </pc:sldChg>
      <pc:sldChg chg="del">
        <pc:chgData name="Tường SKHĐT" userId="ab9568c39a88b08a" providerId="LiveId" clId="{9C79F668-7762-49B4-B8C4-EF402FF964E0}" dt="2023-03-04T10:01:35.280" v="487" actId="2696"/>
        <pc:sldMkLst>
          <pc:docMk/>
          <pc:sldMk cId="3626927527" sldId="2147473529"/>
        </pc:sldMkLst>
      </pc:sldChg>
      <pc:sldChg chg="modSp add mod">
        <pc:chgData name="Tường SKHĐT" userId="ab9568c39a88b08a" providerId="LiveId" clId="{9C79F668-7762-49B4-B8C4-EF402FF964E0}" dt="2023-03-04T11:02:45.007" v="977" actId="20577"/>
        <pc:sldMkLst>
          <pc:docMk/>
          <pc:sldMk cId="1079553522" sldId="2147473530"/>
        </pc:sldMkLst>
        <pc:spChg chg="mod">
          <ac:chgData name="Tường SKHĐT" userId="ab9568c39a88b08a" providerId="LiveId" clId="{9C79F668-7762-49B4-B8C4-EF402FF964E0}" dt="2023-03-04T10:24:43.720" v="832" actId="14100"/>
          <ac:spMkLst>
            <pc:docMk/>
            <pc:sldMk cId="1079553522" sldId="2147473530"/>
            <ac:spMk id="3" creationId="{C7EF3BED-81DF-2DD1-C4B4-7B19AE4E2F47}"/>
          </ac:spMkLst>
        </pc:spChg>
        <pc:spChg chg="mod">
          <ac:chgData name="Tường SKHĐT" userId="ab9568c39a88b08a" providerId="LiveId" clId="{9C79F668-7762-49B4-B8C4-EF402FF964E0}" dt="2023-03-04T11:02:45.007" v="977" actId="20577"/>
          <ac:spMkLst>
            <pc:docMk/>
            <pc:sldMk cId="1079553522" sldId="2147473530"/>
            <ac:spMk id="4" creationId="{A8ED73C0-6DEB-F036-A81D-A84B4FA62951}"/>
          </ac:spMkLst>
        </pc:spChg>
      </pc:sldChg>
      <pc:sldChg chg="addSp delSp modSp mod">
        <pc:chgData name="Tường SKHĐT" userId="ab9568c39a88b08a" providerId="LiveId" clId="{9C79F668-7762-49B4-B8C4-EF402FF964E0}" dt="2023-03-04T11:13:58.159" v="1394" actId="20577"/>
        <pc:sldMkLst>
          <pc:docMk/>
          <pc:sldMk cId="3856454999" sldId="2147473538"/>
        </pc:sldMkLst>
        <pc:spChg chg="mod">
          <ac:chgData name="Tường SKHĐT" userId="ab9568c39a88b08a" providerId="LiveId" clId="{9C79F668-7762-49B4-B8C4-EF402FF964E0}" dt="2023-03-04T09:48:23.777" v="292" actId="20577"/>
          <ac:spMkLst>
            <pc:docMk/>
            <pc:sldMk cId="3856454999" sldId="2147473538"/>
            <ac:spMk id="4" creationId="{16D24723-A233-03FF-2329-1817AB93339D}"/>
          </ac:spMkLst>
        </pc:spChg>
        <pc:spChg chg="mod">
          <ac:chgData name="Tường SKHĐT" userId="ab9568c39a88b08a" providerId="LiveId" clId="{9C79F668-7762-49B4-B8C4-EF402FF964E0}" dt="2023-03-04T09:48:16.920" v="288" actId="20577"/>
          <ac:spMkLst>
            <pc:docMk/>
            <pc:sldMk cId="3856454999" sldId="2147473538"/>
            <ac:spMk id="25" creationId="{01DC26C3-E6F4-C27A-8624-3A65D81B6008}"/>
          </ac:spMkLst>
        </pc:spChg>
        <pc:graphicFrameChg chg="del">
          <ac:chgData name="Tường SKHĐT" userId="ab9568c39a88b08a" providerId="LiveId" clId="{9C79F668-7762-49B4-B8C4-EF402FF964E0}" dt="2023-03-04T09:50:59.323" v="313" actId="21"/>
          <ac:graphicFrameMkLst>
            <pc:docMk/>
            <pc:sldMk cId="3856454999" sldId="2147473538"/>
            <ac:graphicFrameMk id="2" creationId="{EF0F5B71-CEC4-7AF5-CB0D-C7DDB9798892}"/>
          </ac:graphicFrameMkLst>
        </pc:graphicFrameChg>
        <pc:graphicFrameChg chg="add del mod">
          <ac:chgData name="Tường SKHĐT" userId="ab9568c39a88b08a" providerId="LiveId" clId="{9C79F668-7762-49B4-B8C4-EF402FF964E0}" dt="2023-03-04T09:51:29.407" v="315" actId="21"/>
          <ac:graphicFrameMkLst>
            <pc:docMk/>
            <pc:sldMk cId="3856454999" sldId="2147473538"/>
            <ac:graphicFrameMk id="3" creationId="{5330FB07-5816-D088-F76B-0124EF201077}"/>
          </ac:graphicFrameMkLst>
        </pc:graphicFrameChg>
        <pc:graphicFrameChg chg="add del mod">
          <ac:chgData name="Tường SKHĐT" userId="ab9568c39a88b08a" providerId="LiveId" clId="{9C79F668-7762-49B4-B8C4-EF402FF964E0}" dt="2023-03-04T09:51:31.866" v="317"/>
          <ac:graphicFrameMkLst>
            <pc:docMk/>
            <pc:sldMk cId="3856454999" sldId="2147473538"/>
            <ac:graphicFrameMk id="5" creationId="{34D66836-4164-E3D6-D40A-5FC5E2740A2B}"/>
          </ac:graphicFrameMkLst>
        </pc:graphicFrameChg>
        <pc:graphicFrameChg chg="add mod modGraphic">
          <ac:chgData name="Tường SKHĐT" userId="ab9568c39a88b08a" providerId="LiveId" clId="{9C79F668-7762-49B4-B8C4-EF402FF964E0}" dt="2023-03-04T11:13:58.159" v="1394" actId="20577"/>
          <ac:graphicFrameMkLst>
            <pc:docMk/>
            <pc:sldMk cId="3856454999" sldId="2147473538"/>
            <ac:graphicFrameMk id="7" creationId="{4B1CB47D-4416-A097-B1E9-B34AEDDFEDFA}"/>
          </ac:graphicFrameMkLst>
        </pc:graphicFrameChg>
      </pc:sldChg>
      <pc:sldChg chg="addSp delSp modSp del mod">
        <pc:chgData name="Tường SKHĐT" userId="ab9568c39a88b08a" providerId="LiveId" clId="{9C79F668-7762-49B4-B8C4-EF402FF964E0}" dt="2023-03-04T10:01:11.585" v="482" actId="2696"/>
        <pc:sldMkLst>
          <pc:docMk/>
          <pc:sldMk cId="3229960194" sldId="2147473539"/>
        </pc:sldMkLst>
        <pc:spChg chg="mod">
          <ac:chgData name="Tường SKHĐT" userId="ab9568c39a88b08a" providerId="LiveId" clId="{9C79F668-7762-49B4-B8C4-EF402FF964E0}" dt="2023-03-04T09:56:14.008" v="398" actId="20577"/>
          <ac:spMkLst>
            <pc:docMk/>
            <pc:sldMk cId="3229960194" sldId="2147473539"/>
            <ac:spMk id="4" creationId="{16D24723-A233-03FF-2329-1817AB93339D}"/>
          </ac:spMkLst>
        </pc:spChg>
        <pc:spChg chg="mod">
          <ac:chgData name="Tường SKHĐT" userId="ab9568c39a88b08a" providerId="LiveId" clId="{9C79F668-7762-49B4-B8C4-EF402FF964E0}" dt="2023-03-04T09:59:58.598" v="464" actId="1076"/>
          <ac:spMkLst>
            <pc:docMk/>
            <pc:sldMk cId="3229960194" sldId="2147473539"/>
            <ac:spMk id="25" creationId="{01DC26C3-E6F4-C27A-8624-3A65D81B6008}"/>
          </ac:spMkLst>
        </pc:spChg>
        <pc:graphicFrameChg chg="add mod modGraphic">
          <ac:chgData name="Tường SKHĐT" userId="ab9568c39a88b08a" providerId="LiveId" clId="{9C79F668-7762-49B4-B8C4-EF402FF964E0}" dt="2023-03-04T09:59:00.289" v="462" actId="14734"/>
          <ac:graphicFrameMkLst>
            <pc:docMk/>
            <pc:sldMk cId="3229960194" sldId="2147473539"/>
            <ac:graphicFrameMk id="2" creationId="{F6F1FC43-2DF8-D84C-6942-2C3733D439AA}"/>
          </ac:graphicFrameMkLst>
        </pc:graphicFrameChg>
        <pc:graphicFrameChg chg="del">
          <ac:chgData name="Tường SKHĐT" userId="ab9568c39a88b08a" providerId="LiveId" clId="{9C79F668-7762-49B4-B8C4-EF402FF964E0}" dt="2023-03-04T09:56:09.225" v="390" actId="21"/>
          <ac:graphicFrameMkLst>
            <pc:docMk/>
            <pc:sldMk cId="3229960194" sldId="2147473539"/>
            <ac:graphicFrameMk id="5" creationId="{94B078B5-CCF1-7EBE-C0A5-5F31DCB551BC}"/>
          </ac:graphicFrameMkLst>
        </pc:graphicFrameChg>
      </pc:sldChg>
      <pc:sldChg chg="addSp delSp modSp mod">
        <pc:chgData name="Tường SKHĐT" userId="ab9568c39a88b08a" providerId="LiveId" clId="{9C79F668-7762-49B4-B8C4-EF402FF964E0}" dt="2023-03-04T11:12:55.553" v="1374" actId="207"/>
        <pc:sldMkLst>
          <pc:docMk/>
          <pc:sldMk cId="3246394076" sldId="2147473540"/>
        </pc:sldMkLst>
        <pc:spChg chg="mod">
          <ac:chgData name="Tường SKHĐT" userId="ab9568c39a88b08a" providerId="LiveId" clId="{9C79F668-7762-49B4-B8C4-EF402FF964E0}" dt="2023-03-04T09:48:36.640" v="299" actId="20577"/>
          <ac:spMkLst>
            <pc:docMk/>
            <pc:sldMk cId="3246394076" sldId="2147473540"/>
            <ac:spMk id="4" creationId="{16D24723-A233-03FF-2329-1817AB93339D}"/>
          </ac:spMkLst>
        </pc:spChg>
        <pc:spChg chg="mod">
          <ac:chgData name="Tường SKHĐT" userId="ab9568c39a88b08a" providerId="LiveId" clId="{9C79F668-7762-49B4-B8C4-EF402FF964E0}" dt="2023-03-04T09:48:32.864" v="297" actId="20577"/>
          <ac:spMkLst>
            <pc:docMk/>
            <pc:sldMk cId="3246394076" sldId="2147473540"/>
            <ac:spMk id="25" creationId="{01DC26C3-E6F4-C27A-8624-3A65D81B6008}"/>
          </ac:spMkLst>
        </pc:spChg>
        <pc:graphicFrameChg chg="modGraphic">
          <ac:chgData name="Tường SKHĐT" userId="ab9568c39a88b08a" providerId="LiveId" clId="{9C79F668-7762-49B4-B8C4-EF402FF964E0}" dt="2023-03-04T11:12:55.553" v="1374" actId="207"/>
          <ac:graphicFrameMkLst>
            <pc:docMk/>
            <pc:sldMk cId="3246394076" sldId="2147473540"/>
            <ac:graphicFrameMk id="8" creationId="{B5E5335D-2EED-82AF-3A59-FAE8BB94EAE1}"/>
          </ac:graphicFrameMkLst>
        </pc:graphicFrameChg>
        <pc:graphicFrameChg chg="mod modGraphic">
          <ac:chgData name="Tường SKHĐT" userId="ab9568c39a88b08a" providerId="LiveId" clId="{9C79F668-7762-49B4-B8C4-EF402FF964E0}" dt="2023-03-04T11:12:44.728" v="1370" actId="1076"/>
          <ac:graphicFrameMkLst>
            <pc:docMk/>
            <pc:sldMk cId="3246394076" sldId="2147473540"/>
            <ac:graphicFrameMk id="10" creationId="{8E7087F5-D658-8CDB-7D18-3EEA8C8807BD}"/>
          </ac:graphicFrameMkLst>
        </pc:graphicFrameChg>
        <pc:picChg chg="del">
          <ac:chgData name="Tường SKHĐT" userId="ab9568c39a88b08a" providerId="LiveId" clId="{9C79F668-7762-49B4-B8C4-EF402FF964E0}" dt="2023-03-04T11:12:28.401" v="1361" actId="21"/>
          <ac:picMkLst>
            <pc:docMk/>
            <pc:sldMk cId="3246394076" sldId="2147473540"/>
            <ac:picMk id="2" creationId="{0BE47D8E-0269-EBAE-6C41-E923C63085ED}"/>
          </ac:picMkLst>
        </pc:picChg>
        <pc:picChg chg="add del mod">
          <ac:chgData name="Tường SKHĐT" userId="ab9568c39a88b08a" providerId="LiveId" clId="{9C79F668-7762-49B4-B8C4-EF402FF964E0}" dt="2023-03-04T11:12:31.112" v="1363" actId="21"/>
          <ac:picMkLst>
            <pc:docMk/>
            <pc:sldMk cId="3246394076" sldId="2147473540"/>
            <ac:picMk id="3" creationId="{108A3721-7628-42F9-D676-0FD550A5D84E}"/>
          </ac:picMkLst>
        </pc:picChg>
        <pc:picChg chg="add mod">
          <ac:chgData name="Tường SKHĐT" userId="ab9568c39a88b08a" providerId="LiveId" clId="{9C79F668-7762-49B4-B8C4-EF402FF964E0}" dt="2023-03-04T11:12:51.055" v="1373" actId="14100"/>
          <ac:picMkLst>
            <pc:docMk/>
            <pc:sldMk cId="3246394076" sldId="2147473540"/>
            <ac:picMk id="7" creationId="{AEDBEDB4-DFF5-FABD-B0B5-6F254C16099F}"/>
          </ac:picMkLst>
        </pc:picChg>
      </pc:sldChg>
      <pc:sldChg chg="modSp mod">
        <pc:chgData name="Tường SKHĐT" userId="ab9568c39a88b08a" providerId="LiveId" clId="{9C79F668-7762-49B4-B8C4-EF402FF964E0}" dt="2023-03-04T10:28:24.851" v="939" actId="20577"/>
        <pc:sldMkLst>
          <pc:docMk/>
          <pc:sldMk cId="2298926727" sldId="2147473541"/>
        </pc:sldMkLst>
        <pc:spChg chg="mod">
          <ac:chgData name="Tường SKHĐT" userId="ab9568c39a88b08a" providerId="LiveId" clId="{9C79F668-7762-49B4-B8C4-EF402FF964E0}" dt="2023-03-04T10:28:24.851" v="939" actId="20577"/>
          <ac:spMkLst>
            <pc:docMk/>
            <pc:sldMk cId="2298926727" sldId="2147473541"/>
            <ac:spMk id="4" creationId="{16D24723-A233-03FF-2329-1817AB93339D}"/>
          </ac:spMkLst>
        </pc:spChg>
        <pc:graphicFrameChg chg="modGraphic">
          <ac:chgData name="Tường SKHĐT" userId="ab9568c39a88b08a" providerId="LiveId" clId="{9C79F668-7762-49B4-B8C4-EF402FF964E0}" dt="2023-03-04T09:56:37.093" v="402" actId="20577"/>
          <ac:graphicFrameMkLst>
            <pc:docMk/>
            <pc:sldMk cId="2298926727" sldId="2147473541"/>
            <ac:graphicFrameMk id="8" creationId="{B5E5335D-2EED-82AF-3A59-FAE8BB94EAE1}"/>
          </ac:graphicFrameMkLst>
        </pc:graphicFrameChg>
      </pc:sldChg>
      <pc:sldChg chg="del">
        <pc:chgData name="Tường SKHĐT" userId="ab9568c39a88b08a" providerId="LiveId" clId="{9C79F668-7762-49B4-B8C4-EF402FF964E0}" dt="2023-03-04T10:28:03.479" v="931" actId="2696"/>
        <pc:sldMkLst>
          <pc:docMk/>
          <pc:sldMk cId="1496065467" sldId="2147473542"/>
        </pc:sldMkLst>
      </pc:sldChg>
      <pc:sldChg chg="addSp delSp mod">
        <pc:chgData name="Tường SKHĐT" userId="ab9568c39a88b08a" providerId="LiveId" clId="{9C79F668-7762-49B4-B8C4-EF402FF964E0}" dt="2023-03-04T10:28:42.102" v="941" actId="21"/>
        <pc:sldMkLst>
          <pc:docMk/>
          <pc:sldMk cId="1893164686" sldId="2147473543"/>
        </pc:sldMkLst>
        <pc:picChg chg="add del">
          <ac:chgData name="Tường SKHĐT" userId="ab9568c39a88b08a" providerId="LiveId" clId="{9C79F668-7762-49B4-B8C4-EF402FF964E0}" dt="2023-03-04T10:28:42.102" v="941" actId="21"/>
          <ac:picMkLst>
            <pc:docMk/>
            <pc:sldMk cId="1893164686" sldId="2147473543"/>
            <ac:picMk id="6" creationId="{0D91BA1C-308B-0BF9-8A33-E2FF42C456DF}"/>
          </ac:picMkLst>
        </pc:picChg>
      </pc:sldChg>
      <pc:sldChg chg="del">
        <pc:chgData name="Tường SKHĐT" userId="ab9568c39a88b08a" providerId="LiveId" clId="{9C79F668-7762-49B4-B8C4-EF402FF964E0}" dt="2023-03-04T11:30:57.950" v="1800" actId="2696"/>
        <pc:sldMkLst>
          <pc:docMk/>
          <pc:sldMk cId="4130804454" sldId="2147473544"/>
        </pc:sldMkLst>
      </pc:sldChg>
      <pc:sldChg chg="addSp delSp modSp mod">
        <pc:chgData name="Tường SKHĐT" userId="ab9568c39a88b08a" providerId="LiveId" clId="{9C79F668-7762-49B4-B8C4-EF402FF964E0}" dt="2023-03-04T11:40:31.151" v="2047" actId="1076"/>
        <pc:sldMkLst>
          <pc:docMk/>
          <pc:sldMk cId="1786243308" sldId="2147473545"/>
        </pc:sldMkLst>
        <pc:spChg chg="mod">
          <ac:chgData name="Tường SKHĐT" userId="ab9568c39a88b08a" providerId="LiveId" clId="{9C79F668-7762-49B4-B8C4-EF402FF964E0}" dt="2023-03-04T10:28:54.040" v="947" actId="20577"/>
          <ac:spMkLst>
            <pc:docMk/>
            <pc:sldMk cId="1786243308" sldId="2147473545"/>
            <ac:spMk id="4" creationId="{16D24723-A233-03FF-2329-1817AB93339D}"/>
          </ac:spMkLst>
        </pc:spChg>
        <pc:graphicFrameChg chg="add del mod">
          <ac:chgData name="Tường SKHĐT" userId="ab9568c39a88b08a" providerId="LiveId" clId="{9C79F668-7762-49B4-B8C4-EF402FF964E0}" dt="2023-03-04T11:40:24.509" v="2044"/>
          <ac:graphicFrameMkLst>
            <pc:docMk/>
            <pc:sldMk cId="1786243308" sldId="2147473545"/>
            <ac:graphicFrameMk id="2" creationId="{8D6793B0-0639-CCEE-147A-18945EA3CECF}"/>
          </ac:graphicFrameMkLst>
        </pc:graphicFrameChg>
        <pc:graphicFrameChg chg="add del mod">
          <ac:chgData name="Tường SKHĐT" userId="ab9568c39a88b08a" providerId="LiveId" clId="{9C79F668-7762-49B4-B8C4-EF402FF964E0}" dt="2023-03-04T11:40:24.509" v="2044"/>
          <ac:graphicFrameMkLst>
            <pc:docMk/>
            <pc:sldMk cId="1786243308" sldId="2147473545"/>
            <ac:graphicFrameMk id="3" creationId="{416E2BEE-9746-8EF3-4ADC-A15259B21155}"/>
          </ac:graphicFrameMkLst>
        </pc:graphicFrameChg>
        <pc:graphicFrameChg chg="mod modGraphic">
          <ac:chgData name="Tường SKHĐT" userId="ab9568c39a88b08a" providerId="LiveId" clId="{9C79F668-7762-49B4-B8C4-EF402FF964E0}" dt="2023-03-04T11:40:31.151" v="2047" actId="1076"/>
          <ac:graphicFrameMkLst>
            <pc:docMk/>
            <pc:sldMk cId="1786243308" sldId="2147473545"/>
            <ac:graphicFrameMk id="8" creationId="{B5E5335D-2EED-82AF-3A59-FAE8BB94EAE1}"/>
          </ac:graphicFrameMkLst>
        </pc:graphicFrameChg>
      </pc:sldChg>
      <pc:sldChg chg="modSp mod">
        <pc:chgData name="Tường SKHĐT" userId="ab9568c39a88b08a" providerId="LiveId" clId="{9C79F668-7762-49B4-B8C4-EF402FF964E0}" dt="2023-03-04T11:36:15.823" v="1966" actId="1076"/>
        <pc:sldMkLst>
          <pc:docMk/>
          <pc:sldMk cId="1899568227" sldId="2147473546"/>
        </pc:sldMkLst>
        <pc:spChg chg="mod">
          <ac:chgData name="Tường SKHĐT" userId="ab9568c39a88b08a" providerId="LiveId" clId="{9C79F668-7762-49B4-B8C4-EF402FF964E0}" dt="2023-03-04T10:28:57.274" v="949" actId="20577"/>
          <ac:spMkLst>
            <pc:docMk/>
            <pc:sldMk cId="1899568227" sldId="2147473546"/>
            <ac:spMk id="4" creationId="{16D24723-A233-03FF-2329-1817AB93339D}"/>
          </ac:spMkLst>
        </pc:spChg>
        <pc:spChg chg="mod">
          <ac:chgData name="Tường SKHĐT" userId="ab9568c39a88b08a" providerId="LiveId" clId="{9C79F668-7762-49B4-B8C4-EF402FF964E0}" dt="2023-03-04T11:36:15.823" v="1966" actId="1076"/>
          <ac:spMkLst>
            <pc:docMk/>
            <pc:sldMk cId="1899568227" sldId="2147473546"/>
            <ac:spMk id="25" creationId="{01DC26C3-E6F4-C27A-8624-3A65D81B6008}"/>
          </ac:spMkLst>
        </pc:spChg>
        <pc:graphicFrameChg chg="mod modGraphic">
          <ac:chgData name="Tường SKHĐT" userId="ab9568c39a88b08a" providerId="LiveId" clId="{9C79F668-7762-49B4-B8C4-EF402FF964E0}" dt="2023-03-04T11:36:12.066" v="1965" actId="14100"/>
          <ac:graphicFrameMkLst>
            <pc:docMk/>
            <pc:sldMk cId="1899568227" sldId="2147473546"/>
            <ac:graphicFrameMk id="8" creationId="{B5E5335D-2EED-82AF-3A59-FAE8BB94EAE1}"/>
          </ac:graphicFrameMkLst>
        </pc:graphicFrameChg>
      </pc:sldChg>
      <pc:sldChg chg="addSp delSp modSp mod">
        <pc:chgData name="Tường SKHĐT" userId="ab9568c39a88b08a" providerId="LiveId" clId="{9C79F668-7762-49B4-B8C4-EF402FF964E0}" dt="2023-03-04T11:09:34.831" v="1161" actId="20577"/>
        <pc:sldMkLst>
          <pc:docMk/>
          <pc:sldMk cId="3035689650" sldId="2147473547"/>
        </pc:sldMkLst>
        <pc:spChg chg="mod">
          <ac:chgData name="Tường SKHĐT" userId="ab9568c39a88b08a" providerId="LiveId" clId="{9C79F668-7762-49B4-B8C4-EF402FF964E0}" dt="2023-03-04T09:12:06.104" v="157" actId="1076"/>
          <ac:spMkLst>
            <pc:docMk/>
            <pc:sldMk cId="3035689650" sldId="2147473547"/>
            <ac:spMk id="4" creationId="{00000000-0000-0000-0000-000000000000}"/>
          </ac:spMkLst>
        </pc:spChg>
        <pc:graphicFrameChg chg="add mod modGraphic">
          <ac:chgData name="Tường SKHĐT" userId="ab9568c39a88b08a" providerId="LiveId" clId="{9C79F668-7762-49B4-B8C4-EF402FF964E0}" dt="2023-03-04T11:09:34.831" v="1161" actId="20577"/>
          <ac:graphicFrameMkLst>
            <pc:docMk/>
            <pc:sldMk cId="3035689650" sldId="2147473547"/>
            <ac:graphicFrameMk id="2" creationId="{FAC20BB5-6336-83D2-00B5-08BE62939652}"/>
          </ac:graphicFrameMkLst>
        </pc:graphicFrameChg>
        <pc:graphicFrameChg chg="add del mod">
          <ac:chgData name="Tường SKHĐT" userId="ab9568c39a88b08a" providerId="LiveId" clId="{9C79F668-7762-49B4-B8C4-EF402FF964E0}" dt="2023-03-04T09:12:14.562" v="159"/>
          <ac:graphicFrameMkLst>
            <pc:docMk/>
            <pc:sldMk cId="3035689650" sldId="2147473547"/>
            <ac:graphicFrameMk id="3" creationId="{86ECAF57-B8AE-8FAC-E971-FE053643475D}"/>
          </ac:graphicFrameMkLst>
        </pc:graphicFrameChg>
        <pc:graphicFrameChg chg="add del mod modGraphic">
          <ac:chgData name="Tường SKHĐT" userId="ab9568c39a88b08a" providerId="LiveId" clId="{9C79F668-7762-49B4-B8C4-EF402FF964E0}" dt="2023-03-04T09:08:02.381" v="117" actId="21"/>
          <ac:graphicFrameMkLst>
            <pc:docMk/>
            <pc:sldMk cId="3035689650" sldId="2147473547"/>
            <ac:graphicFrameMk id="7" creationId="{44FD6820-12F5-8C73-583C-7D9F46E04367}"/>
          </ac:graphicFrameMkLst>
        </pc:graphicFrameChg>
      </pc:sldChg>
      <pc:sldChg chg="modSp del mod">
        <pc:chgData name="Tường SKHĐT" userId="ab9568c39a88b08a" providerId="LiveId" clId="{9C79F668-7762-49B4-B8C4-EF402FF964E0}" dt="2023-03-04T11:02:36.674" v="957" actId="2696"/>
        <pc:sldMkLst>
          <pc:docMk/>
          <pc:sldMk cId="1547433331" sldId="2147473548"/>
        </pc:sldMkLst>
        <pc:graphicFrameChg chg="modGraphic">
          <ac:chgData name="Tường SKHĐT" userId="ab9568c39a88b08a" providerId="LiveId" clId="{9C79F668-7762-49B4-B8C4-EF402FF964E0}" dt="2023-03-04T08:20:32.195" v="21" actId="20577"/>
          <ac:graphicFrameMkLst>
            <pc:docMk/>
            <pc:sldMk cId="1547433331" sldId="2147473548"/>
            <ac:graphicFrameMk id="2" creationId="{FBFFDBCD-49A2-B604-F9E9-B81E95DF4EB5}"/>
          </ac:graphicFrameMkLst>
        </pc:graphicFrameChg>
      </pc:sldChg>
      <pc:sldChg chg="addSp delSp modSp add mod">
        <pc:chgData name="Tường SKHĐT" userId="ab9568c39a88b08a" providerId="LiveId" clId="{9C79F668-7762-49B4-B8C4-EF402FF964E0}" dt="2023-03-04T10:28:18.595" v="935" actId="20577"/>
        <pc:sldMkLst>
          <pc:docMk/>
          <pc:sldMk cId="537512070" sldId="2147473549"/>
        </pc:sldMkLst>
        <pc:spChg chg="mod">
          <ac:chgData name="Tường SKHĐT" userId="ab9568c39a88b08a" providerId="LiveId" clId="{9C79F668-7762-49B4-B8C4-EF402FF964E0}" dt="2023-03-04T10:28:18.595" v="935" actId="20577"/>
          <ac:spMkLst>
            <pc:docMk/>
            <pc:sldMk cId="537512070" sldId="2147473549"/>
            <ac:spMk id="4" creationId="{16D24723-A233-03FF-2329-1817AB93339D}"/>
          </ac:spMkLst>
        </pc:spChg>
        <pc:graphicFrameChg chg="add del mod modGraphic">
          <ac:chgData name="Tường SKHĐT" userId="ab9568c39a88b08a" providerId="LiveId" clId="{9C79F668-7762-49B4-B8C4-EF402FF964E0}" dt="2023-03-04T10:00:51.105" v="477" actId="21"/>
          <ac:graphicFrameMkLst>
            <pc:docMk/>
            <pc:sldMk cId="537512070" sldId="2147473549"/>
            <ac:graphicFrameMk id="3" creationId="{4B05F5B9-5B71-465A-D49D-E1B3E4DDB818}"/>
          </ac:graphicFrameMkLst>
        </pc:graphicFrameChg>
        <pc:graphicFrameChg chg="add mod">
          <ac:chgData name="Tường SKHĐT" userId="ab9568c39a88b08a" providerId="LiveId" clId="{9C79F668-7762-49B4-B8C4-EF402FF964E0}" dt="2023-03-04T10:00:57.137" v="479" actId="1076"/>
          <ac:graphicFrameMkLst>
            <pc:docMk/>
            <pc:sldMk cId="537512070" sldId="2147473549"/>
            <ac:graphicFrameMk id="5" creationId="{17F76530-0BF0-6EDB-D1AD-D43D00263199}"/>
          </ac:graphicFrameMkLst>
        </pc:graphicFrameChg>
        <pc:graphicFrameChg chg="mod modGraphic">
          <ac:chgData name="Tường SKHĐT" userId="ab9568c39a88b08a" providerId="LiveId" clId="{9C79F668-7762-49B4-B8C4-EF402FF964E0}" dt="2023-03-04T10:00:59.421" v="480" actId="1076"/>
          <ac:graphicFrameMkLst>
            <pc:docMk/>
            <pc:sldMk cId="537512070" sldId="2147473549"/>
            <ac:graphicFrameMk id="8" creationId="{B5E5335D-2EED-82AF-3A59-FAE8BB94EAE1}"/>
          </ac:graphicFrameMkLst>
        </pc:graphicFrameChg>
        <pc:picChg chg="del">
          <ac:chgData name="Tường SKHĐT" userId="ab9568c39a88b08a" providerId="LiveId" clId="{9C79F668-7762-49B4-B8C4-EF402FF964E0}" dt="2023-03-04T10:00:45.643" v="476" actId="21"/>
          <ac:picMkLst>
            <pc:docMk/>
            <pc:sldMk cId="537512070" sldId="2147473549"/>
            <ac:picMk id="2" creationId="{D332573F-550E-B385-BE21-241ECFBBB573}"/>
          </ac:picMkLst>
        </pc:picChg>
        <pc:picChg chg="mod">
          <ac:chgData name="Tường SKHĐT" userId="ab9568c39a88b08a" providerId="LiveId" clId="{9C79F668-7762-49B4-B8C4-EF402FF964E0}" dt="2023-03-04T10:01:02.177" v="481" actId="1076"/>
          <ac:picMkLst>
            <pc:docMk/>
            <pc:sldMk cId="537512070" sldId="2147473549"/>
            <ac:picMk id="9" creationId="{2ED6FDAE-B540-11E3-282C-E003A11FADC8}"/>
          </ac:picMkLst>
        </pc:picChg>
      </pc:sldChg>
      <pc:sldChg chg="add del">
        <pc:chgData name="Tường SKHĐT" userId="ab9568c39a88b08a" providerId="LiveId" clId="{9C79F668-7762-49B4-B8C4-EF402FF964E0}" dt="2023-03-04T09:55:06.523" v="387" actId="2696"/>
        <pc:sldMkLst>
          <pc:docMk/>
          <pc:sldMk cId="2768455424" sldId="2147473549"/>
        </pc:sldMkLst>
      </pc:sldChg>
      <pc:sldChg chg="addSp delSp modSp add del mod">
        <pc:chgData name="Tường SKHĐT" userId="ab9568c39a88b08a" providerId="LiveId" clId="{9C79F668-7762-49B4-B8C4-EF402FF964E0}" dt="2023-03-04T09:59:28.812" v="463" actId="2696"/>
        <pc:sldMkLst>
          <pc:docMk/>
          <pc:sldMk cId="2815714851" sldId="2147473549"/>
        </pc:sldMkLst>
        <pc:spChg chg="mod">
          <ac:chgData name="Tường SKHĐT" userId="ab9568c39a88b08a" providerId="LiveId" clId="{9C79F668-7762-49B4-B8C4-EF402FF964E0}" dt="2023-03-04T09:56:19.131" v="400" actId="20577"/>
          <ac:spMkLst>
            <pc:docMk/>
            <pc:sldMk cId="2815714851" sldId="2147473549"/>
            <ac:spMk id="4" creationId="{16D24723-A233-03FF-2329-1817AB93339D}"/>
          </ac:spMkLst>
        </pc:spChg>
        <pc:graphicFrameChg chg="add del">
          <ac:chgData name="Tường SKHĐT" userId="ab9568c39a88b08a" providerId="LiveId" clId="{9C79F668-7762-49B4-B8C4-EF402FF964E0}" dt="2023-03-04T09:56:45.241" v="404" actId="21"/>
          <ac:graphicFrameMkLst>
            <pc:docMk/>
            <pc:sldMk cId="2815714851" sldId="2147473549"/>
            <ac:graphicFrameMk id="5" creationId="{94B078B5-CCF1-7EBE-C0A5-5F31DCB551BC}"/>
          </ac:graphicFrameMkLst>
        </pc:graphicFrameChg>
      </pc:sldChg>
      <pc:sldChg chg="modSp add del">
        <pc:chgData name="Tường SKHĐT" userId="ab9568c39a88b08a" providerId="LiveId" clId="{9C79F668-7762-49B4-B8C4-EF402FF964E0}" dt="2023-03-04T09:12:01.506" v="156" actId="2696"/>
        <pc:sldMkLst>
          <pc:docMk/>
          <pc:sldMk cId="3611080259" sldId="2147473549"/>
        </pc:sldMkLst>
        <pc:graphicFrameChg chg="mod">
          <ac:chgData name="Tường SKHĐT" userId="ab9568c39a88b08a" providerId="LiveId" clId="{9C79F668-7762-49B4-B8C4-EF402FF964E0}" dt="2023-03-04T09:08:30.251" v="119"/>
          <ac:graphicFrameMkLst>
            <pc:docMk/>
            <pc:sldMk cId="3611080259" sldId="2147473549"/>
            <ac:graphicFrameMk id="7" creationId="{44FD6820-12F5-8C73-583C-7D9F46E04367}"/>
          </ac:graphicFrameMkLst>
        </pc:graphicFrameChg>
      </pc:sldChg>
      <pc:sldChg chg="add del">
        <pc:chgData name="Tường SKHĐT" userId="ab9568c39a88b08a" providerId="LiveId" clId="{9C79F668-7762-49B4-B8C4-EF402FF964E0}" dt="2023-03-04T09:12:21.872" v="161" actId="2696"/>
        <pc:sldMkLst>
          <pc:docMk/>
          <pc:sldMk cId="4290464444" sldId="2147473549"/>
        </pc:sldMkLst>
      </pc:sldChg>
      <pc:sldChg chg="addSp delSp modSp add mod">
        <pc:chgData name="Tường SKHĐT" userId="ab9568c39a88b08a" providerId="LiveId" clId="{9C79F668-7762-49B4-B8C4-EF402FF964E0}" dt="2023-03-04T11:14:32.665" v="1395" actId="1076"/>
        <pc:sldMkLst>
          <pc:docMk/>
          <pc:sldMk cId="3002944224" sldId="2147473550"/>
        </pc:sldMkLst>
        <pc:spChg chg="mod">
          <ac:chgData name="Tường SKHĐT" userId="ab9568c39a88b08a" providerId="LiveId" clId="{9C79F668-7762-49B4-B8C4-EF402FF964E0}" dt="2023-03-04T10:28:21.666" v="937" actId="20577"/>
          <ac:spMkLst>
            <pc:docMk/>
            <pc:sldMk cId="3002944224" sldId="2147473550"/>
            <ac:spMk id="4" creationId="{16D24723-A233-03FF-2329-1817AB93339D}"/>
          </ac:spMkLst>
        </pc:spChg>
        <pc:graphicFrameChg chg="mod modGraphic">
          <ac:chgData name="Tường SKHĐT" userId="ab9568c39a88b08a" providerId="LiveId" clId="{9C79F668-7762-49B4-B8C4-EF402FF964E0}" dt="2023-03-04T11:14:32.665" v="1395" actId="1076"/>
          <ac:graphicFrameMkLst>
            <pc:docMk/>
            <pc:sldMk cId="3002944224" sldId="2147473550"/>
            <ac:graphicFrameMk id="8" creationId="{B5E5335D-2EED-82AF-3A59-FAE8BB94EAE1}"/>
          </ac:graphicFrameMkLst>
        </pc:graphicFrameChg>
        <pc:picChg chg="mod">
          <ac:chgData name="Tường SKHĐT" userId="ab9568c39a88b08a" providerId="LiveId" clId="{9C79F668-7762-49B4-B8C4-EF402FF964E0}" dt="2023-03-04T10:03:55.923" v="573" actId="1076"/>
          <ac:picMkLst>
            <pc:docMk/>
            <pc:sldMk cId="3002944224" sldId="2147473550"/>
            <ac:picMk id="2" creationId="{D332573F-550E-B385-BE21-241ECFBBB573}"/>
          </ac:picMkLst>
        </pc:picChg>
        <pc:picChg chg="add mod">
          <ac:chgData name="Tường SKHĐT" userId="ab9568c39a88b08a" providerId="LiveId" clId="{9C79F668-7762-49B4-B8C4-EF402FF964E0}" dt="2023-03-04T10:06:31.769" v="581" actId="14100"/>
          <ac:picMkLst>
            <pc:docMk/>
            <pc:sldMk cId="3002944224" sldId="2147473550"/>
            <ac:picMk id="5" creationId="{3CDF5BD5-9FC9-82BF-1AB2-3E88F876FDF7}"/>
          </ac:picMkLst>
        </pc:picChg>
        <pc:picChg chg="del">
          <ac:chgData name="Tường SKHĐT" userId="ab9568c39a88b08a" providerId="LiveId" clId="{9C79F668-7762-49B4-B8C4-EF402FF964E0}" dt="2023-03-04T10:01:22.905" v="485" actId="21"/>
          <ac:picMkLst>
            <pc:docMk/>
            <pc:sldMk cId="3002944224" sldId="2147473550"/>
            <ac:picMk id="9" creationId="{2ED6FDAE-B540-11E3-282C-E003A11FADC8}"/>
          </ac:picMkLst>
        </pc:picChg>
      </pc:sldChg>
      <pc:sldChg chg="delSp modSp add del mod">
        <pc:chgData name="Tường SKHĐT" userId="ab9568c39a88b08a" providerId="LiveId" clId="{9C79F668-7762-49B4-B8C4-EF402FF964E0}" dt="2023-03-04T10:18:17.410" v="766" actId="2696"/>
        <pc:sldMkLst>
          <pc:docMk/>
          <pc:sldMk cId="443054639" sldId="2147473551"/>
        </pc:sldMkLst>
        <pc:graphicFrameChg chg="mod modGraphic">
          <ac:chgData name="Tường SKHĐT" userId="ab9568c39a88b08a" providerId="LiveId" clId="{9C79F668-7762-49B4-B8C4-EF402FF964E0}" dt="2023-03-04T10:15:46.631" v="765" actId="14100"/>
          <ac:graphicFrameMkLst>
            <pc:docMk/>
            <pc:sldMk cId="443054639" sldId="2147473551"/>
            <ac:graphicFrameMk id="8" creationId="{B5E5335D-2EED-82AF-3A59-FAE8BB94EAE1}"/>
          </ac:graphicFrameMkLst>
        </pc:graphicFrameChg>
        <pc:picChg chg="del">
          <ac:chgData name="Tường SKHĐT" userId="ab9568c39a88b08a" providerId="LiveId" clId="{9C79F668-7762-49B4-B8C4-EF402FF964E0}" dt="2023-03-04T10:10:55.229" v="654" actId="21"/>
          <ac:picMkLst>
            <pc:docMk/>
            <pc:sldMk cId="443054639" sldId="2147473551"/>
            <ac:picMk id="10" creationId="{98D5E116-9007-7C05-526C-FE5AD4674A8B}"/>
          </ac:picMkLst>
        </pc:picChg>
      </pc:sldChg>
      <pc:sldChg chg="addSp delSp modSp add mod">
        <pc:chgData name="Tường SKHĐT" userId="ab9568c39a88b08a" providerId="LiveId" clId="{9C79F668-7762-49B4-B8C4-EF402FF964E0}" dt="2023-03-04T10:25:31.787" v="842" actId="14100"/>
        <pc:sldMkLst>
          <pc:docMk/>
          <pc:sldMk cId="3036134749" sldId="2147473551"/>
        </pc:sldMkLst>
        <pc:spChg chg="del">
          <ac:chgData name="Tường SKHĐT" userId="ab9568c39a88b08a" providerId="LiveId" clId="{9C79F668-7762-49B4-B8C4-EF402FF964E0}" dt="2023-03-04T10:20:35.809" v="768" actId="478"/>
          <ac:spMkLst>
            <pc:docMk/>
            <pc:sldMk cId="3036134749" sldId="2147473551"/>
            <ac:spMk id="2" creationId="{5CA64A82-F21B-62CF-B485-0F935AE7046A}"/>
          </ac:spMkLst>
        </pc:spChg>
        <pc:spChg chg="mod">
          <ac:chgData name="Tường SKHĐT" userId="ab9568c39a88b08a" providerId="LiveId" clId="{9C79F668-7762-49B4-B8C4-EF402FF964E0}" dt="2023-03-04T10:23:57.901" v="815" actId="1076"/>
          <ac:spMkLst>
            <pc:docMk/>
            <pc:sldMk cId="3036134749" sldId="2147473551"/>
            <ac:spMk id="8" creationId="{29B4CA7B-9B25-D494-D70E-148AB1A97984}"/>
          </ac:spMkLst>
        </pc:spChg>
        <pc:spChg chg="del">
          <ac:chgData name="Tường SKHĐT" userId="ab9568c39a88b08a" providerId="LiveId" clId="{9C79F668-7762-49B4-B8C4-EF402FF964E0}" dt="2023-03-04T10:20:35.809" v="768" actId="478"/>
          <ac:spMkLst>
            <pc:docMk/>
            <pc:sldMk cId="3036134749" sldId="2147473551"/>
            <ac:spMk id="25" creationId="{76FC2223-CBDC-4B1C-A8C6-0DBB61B65684}"/>
          </ac:spMkLst>
        </pc:spChg>
        <pc:spChg chg="del">
          <ac:chgData name="Tường SKHĐT" userId="ab9568c39a88b08a" providerId="LiveId" clId="{9C79F668-7762-49B4-B8C4-EF402FF964E0}" dt="2023-03-04T10:20:35.809" v="768" actId="478"/>
          <ac:spMkLst>
            <pc:docMk/>
            <pc:sldMk cId="3036134749" sldId="2147473551"/>
            <ac:spMk id="47"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48"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50"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51"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56"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3"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4"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5" creationId="{00000000-0000-0000-0000-000000000000}"/>
          </ac:spMkLst>
        </pc:spChg>
        <pc:spChg chg="del">
          <ac:chgData name="Tường SKHĐT" userId="ab9568c39a88b08a" providerId="LiveId" clId="{9C79F668-7762-49B4-B8C4-EF402FF964E0}" dt="2023-03-04T10:20:35.809" v="768" actId="478"/>
          <ac:spMkLst>
            <pc:docMk/>
            <pc:sldMk cId="3036134749" sldId="2147473551"/>
            <ac:spMk id="66" creationId="{76FC2223-CBDC-4B1C-A8C6-0DBB61B65684}"/>
          </ac:spMkLst>
        </pc:spChg>
        <pc:spChg chg="del">
          <ac:chgData name="Tường SKHĐT" userId="ab9568c39a88b08a" providerId="LiveId" clId="{9C79F668-7762-49B4-B8C4-EF402FF964E0}" dt="2023-03-04T10:20:35.809" v="768" actId="478"/>
          <ac:spMkLst>
            <pc:docMk/>
            <pc:sldMk cId="3036134749" sldId="2147473551"/>
            <ac:spMk id="67" creationId="{00000000-0000-0000-0000-000000000000}"/>
          </ac:spMkLst>
        </pc:spChg>
        <pc:grpChg chg="del">
          <ac:chgData name="Tường SKHĐT" userId="ab9568c39a88b08a" providerId="LiveId" clId="{9C79F668-7762-49B4-B8C4-EF402FF964E0}" dt="2023-03-04T10:20:35.809" v="768" actId="478"/>
          <ac:grpSpMkLst>
            <pc:docMk/>
            <pc:sldMk cId="3036134749" sldId="2147473551"/>
            <ac:grpSpMk id="36" creationId="{00000000-0000-0000-0000-000000000000}"/>
          </ac:grpSpMkLst>
        </pc:grpChg>
        <pc:grpChg chg="del">
          <ac:chgData name="Tường SKHĐT" userId="ab9568c39a88b08a" providerId="LiveId" clId="{9C79F668-7762-49B4-B8C4-EF402FF964E0}" dt="2023-03-04T10:20:35.809" v="768" actId="478"/>
          <ac:grpSpMkLst>
            <pc:docMk/>
            <pc:sldMk cId="3036134749" sldId="2147473551"/>
            <ac:grpSpMk id="41" creationId="{00000000-0000-0000-0000-000000000000}"/>
          </ac:grpSpMkLst>
        </pc:grpChg>
        <pc:graphicFrameChg chg="add del mod modGraphic">
          <ac:chgData name="Tường SKHĐT" userId="ab9568c39a88b08a" providerId="LiveId" clId="{9C79F668-7762-49B4-B8C4-EF402FF964E0}" dt="2023-03-04T10:23:08.104" v="799" actId="21"/>
          <ac:graphicFrameMkLst>
            <pc:docMk/>
            <pc:sldMk cId="3036134749" sldId="2147473551"/>
            <ac:graphicFrameMk id="3" creationId="{A598047E-A740-FA0F-51F0-D785E318A6FC}"/>
          </ac:graphicFrameMkLst>
        </pc:graphicFrameChg>
        <pc:graphicFrameChg chg="add del mod">
          <ac:chgData name="Tường SKHĐT" userId="ab9568c39a88b08a" providerId="LiveId" clId="{9C79F668-7762-49B4-B8C4-EF402FF964E0}" dt="2023-03-04T10:23:10.327" v="801"/>
          <ac:graphicFrameMkLst>
            <pc:docMk/>
            <pc:sldMk cId="3036134749" sldId="2147473551"/>
            <ac:graphicFrameMk id="4" creationId="{25E5C8F1-BFA0-9AD9-20BB-4F20B122C22E}"/>
          </ac:graphicFrameMkLst>
        </pc:graphicFrameChg>
        <pc:picChg chg="add mod">
          <ac:chgData name="Tường SKHĐT" userId="ab9568c39a88b08a" providerId="LiveId" clId="{9C79F668-7762-49B4-B8C4-EF402FF964E0}" dt="2023-03-04T10:25:23.201" v="838" actId="1076"/>
          <ac:picMkLst>
            <pc:docMk/>
            <pc:sldMk cId="3036134749" sldId="2147473551"/>
            <ac:picMk id="6" creationId="{1361ED7E-B35F-9192-50D0-B37264EF7016}"/>
          </ac:picMkLst>
        </pc:picChg>
        <pc:picChg chg="add mod">
          <ac:chgData name="Tường SKHĐT" userId="ab9568c39a88b08a" providerId="LiveId" clId="{9C79F668-7762-49B4-B8C4-EF402FF964E0}" dt="2023-03-04T10:25:24.723" v="839" actId="1076"/>
          <ac:picMkLst>
            <pc:docMk/>
            <pc:sldMk cId="3036134749" sldId="2147473551"/>
            <ac:picMk id="7" creationId="{455CD825-D54D-FCEA-81AF-11182774D584}"/>
          </ac:picMkLst>
        </pc:picChg>
        <pc:picChg chg="add mod">
          <ac:chgData name="Tường SKHĐT" userId="ab9568c39a88b08a" providerId="LiveId" clId="{9C79F668-7762-49B4-B8C4-EF402FF964E0}" dt="2023-03-04T10:25:31.787" v="842" actId="14100"/>
          <ac:picMkLst>
            <pc:docMk/>
            <pc:sldMk cId="3036134749" sldId="2147473551"/>
            <ac:picMk id="9" creationId="{7246F3BF-F456-CF2C-6AA7-82B046A0EB87}"/>
          </ac:picMkLst>
        </pc:picChg>
        <pc:picChg chg="del">
          <ac:chgData name="Tường SKHĐT" userId="ab9568c39a88b08a" providerId="LiveId" clId="{9C79F668-7762-49B4-B8C4-EF402FF964E0}" dt="2023-03-04T10:20:35.809" v="768" actId="478"/>
          <ac:picMkLst>
            <pc:docMk/>
            <pc:sldMk cId="3036134749" sldId="2147473551"/>
            <ac:picMk id="39" creationId="{00000000-0000-0000-0000-000000000000}"/>
          </ac:picMkLst>
        </pc:picChg>
      </pc:sldChg>
      <pc:sldChg chg="modSp add del mod">
        <pc:chgData name="Tường SKHĐT" userId="ab9568c39a88b08a" providerId="LiveId" clId="{9C79F668-7762-49B4-B8C4-EF402FF964E0}" dt="2023-03-04T11:42:06.629" v="2118" actId="2696"/>
        <pc:sldMkLst>
          <pc:docMk/>
          <pc:sldMk cId="3580774537" sldId="2147473552"/>
        </pc:sldMkLst>
        <pc:graphicFrameChg chg="mod modGraphic">
          <ac:chgData name="Tường SKHĐT" userId="ab9568c39a88b08a" providerId="LiveId" clId="{9C79F668-7762-49B4-B8C4-EF402FF964E0}" dt="2023-03-04T11:41:58.150" v="2117" actId="20577"/>
          <ac:graphicFrameMkLst>
            <pc:docMk/>
            <pc:sldMk cId="3580774537" sldId="2147473552"/>
            <ac:graphicFrameMk id="8" creationId="{B5E5335D-2EED-82AF-3A59-FAE8BB94EAE1}"/>
          </ac:graphicFrameMkLst>
        </pc:graphicFrameChg>
      </pc:sldChg>
    </pc:docChg>
  </pc:docChgLst>
  <pc:docChgLst>
    <pc:chgData name="Tường SKHĐT" userId="ab9568c39a88b08a" providerId="LiveId" clId="{805CF0FB-80C6-433A-A325-AD1474DF2833}"/>
    <pc:docChg chg="undo custSel addSld delSld modSld">
      <pc:chgData name="Tường SKHĐT" userId="ab9568c39a88b08a" providerId="LiveId" clId="{805CF0FB-80C6-433A-A325-AD1474DF2833}" dt="2023-03-09T10:27:49.583" v="5670" actId="20577"/>
      <pc:docMkLst>
        <pc:docMk/>
      </pc:docMkLst>
      <pc:sldChg chg="delSp modSp add mod">
        <pc:chgData name="Tường SKHĐT" userId="ab9568c39a88b08a" providerId="LiveId" clId="{805CF0FB-80C6-433A-A325-AD1474DF2833}" dt="2023-03-09T09:25:53.740" v="5574" actId="1076"/>
        <pc:sldMkLst>
          <pc:docMk/>
          <pc:sldMk cId="348917705" sldId="482"/>
        </pc:sldMkLst>
        <pc:spChg chg="del mod">
          <ac:chgData name="Tường SKHĐT" userId="ab9568c39a88b08a" providerId="LiveId" clId="{805CF0FB-80C6-433A-A325-AD1474DF2833}" dt="2023-03-08T04:17:20.999" v="1181" actId="21"/>
          <ac:spMkLst>
            <pc:docMk/>
            <pc:sldMk cId="348917705" sldId="482"/>
            <ac:spMk id="3" creationId="{BCE0614A-C2BD-584E-66E6-1468750F2C5D}"/>
          </ac:spMkLst>
        </pc:spChg>
        <pc:spChg chg="mod">
          <ac:chgData name="Tường SKHĐT" userId="ab9568c39a88b08a" providerId="LiveId" clId="{805CF0FB-80C6-433A-A325-AD1474DF2833}" dt="2023-03-09T09:19:27.473" v="5182" actId="1076"/>
          <ac:spMkLst>
            <pc:docMk/>
            <pc:sldMk cId="348917705" sldId="482"/>
            <ac:spMk id="4" creationId="{00000000-0000-0000-0000-000000000000}"/>
          </ac:spMkLst>
        </pc:spChg>
        <pc:graphicFrameChg chg="mod modGraphic">
          <ac:chgData name="Tường SKHĐT" userId="ab9568c39a88b08a" providerId="LiveId" clId="{805CF0FB-80C6-433A-A325-AD1474DF2833}" dt="2023-03-09T09:25:53.740" v="5574" actId="1076"/>
          <ac:graphicFrameMkLst>
            <pc:docMk/>
            <pc:sldMk cId="348917705" sldId="482"/>
            <ac:graphicFrameMk id="2" creationId="{FBFFDBCD-49A2-B604-F9E9-B81E95DF4EB5}"/>
          </ac:graphicFrameMkLst>
        </pc:graphicFrameChg>
      </pc:sldChg>
      <pc:sldChg chg="modSp mod">
        <pc:chgData name="Tường SKHĐT" userId="ab9568c39a88b08a" providerId="LiveId" clId="{805CF0FB-80C6-433A-A325-AD1474DF2833}" dt="2023-03-09T01:58:33.474" v="3533" actId="20577"/>
        <pc:sldMkLst>
          <pc:docMk/>
          <pc:sldMk cId="4051799181" sldId="483"/>
        </pc:sldMkLst>
        <pc:spChg chg="mod">
          <ac:chgData name="Tường SKHĐT" userId="ab9568c39a88b08a" providerId="LiveId" clId="{805CF0FB-80C6-433A-A325-AD1474DF2833}" dt="2023-03-09T01:58:33.474" v="3533" actId="20577"/>
          <ac:spMkLst>
            <pc:docMk/>
            <pc:sldMk cId="4051799181" sldId="483"/>
            <ac:spMk id="4" creationId="{00000000-0000-0000-0000-000000000000}"/>
          </ac:spMkLst>
        </pc:spChg>
      </pc:sldChg>
      <pc:sldChg chg="modSp mod">
        <pc:chgData name="Tường SKHĐT" userId="ab9568c39a88b08a" providerId="LiveId" clId="{805CF0FB-80C6-433A-A325-AD1474DF2833}" dt="2023-03-09T09:27:15.302" v="5616" actId="1076"/>
        <pc:sldMkLst>
          <pc:docMk/>
          <pc:sldMk cId="3371819825" sldId="2147473466"/>
        </pc:sldMkLst>
        <pc:spChg chg="mod">
          <ac:chgData name="Tường SKHĐT" userId="ab9568c39a88b08a" providerId="LiveId" clId="{805CF0FB-80C6-433A-A325-AD1474DF2833}" dt="2023-03-09T09:27:15.302" v="5616" actId="1076"/>
          <ac:spMkLst>
            <pc:docMk/>
            <pc:sldMk cId="3371819825" sldId="2147473466"/>
            <ac:spMk id="3" creationId="{081F7088-9928-7396-D267-659762DCD728}"/>
          </ac:spMkLst>
        </pc:spChg>
      </pc:sldChg>
      <pc:sldChg chg="modSp">
        <pc:chgData name="Tường SKHĐT" userId="ab9568c39a88b08a" providerId="LiveId" clId="{805CF0FB-80C6-433A-A325-AD1474DF2833}" dt="2023-03-09T07:30:32.322" v="4432" actId="20577"/>
        <pc:sldMkLst>
          <pc:docMk/>
          <pc:sldMk cId="914573862" sldId="2147473474"/>
        </pc:sldMkLst>
        <pc:graphicFrameChg chg="mod">
          <ac:chgData name="Tường SKHĐT" userId="ab9568c39a88b08a" providerId="LiveId" clId="{805CF0FB-80C6-433A-A325-AD1474DF2833}" dt="2023-03-09T07:30:32.322" v="4432" actId="20577"/>
          <ac:graphicFrameMkLst>
            <pc:docMk/>
            <pc:sldMk cId="914573862" sldId="2147473474"/>
            <ac:graphicFrameMk id="2" creationId="{A091C242-D65F-E0C5-16D6-B15756DA14A6}"/>
          </ac:graphicFrameMkLst>
        </pc:graphicFrameChg>
      </pc:sldChg>
      <pc:sldChg chg="modSp mod">
        <pc:chgData name="Tường SKHĐT" userId="ab9568c39a88b08a" providerId="LiveId" clId="{805CF0FB-80C6-433A-A325-AD1474DF2833}" dt="2023-03-09T01:58:41.947" v="3553" actId="20577"/>
        <pc:sldMkLst>
          <pc:docMk/>
          <pc:sldMk cId="4092993056" sldId="2147473513"/>
        </pc:sldMkLst>
        <pc:spChg chg="mod">
          <ac:chgData name="Tường SKHĐT" userId="ab9568c39a88b08a" providerId="LiveId" clId="{805CF0FB-80C6-433A-A325-AD1474DF2833}" dt="2023-03-09T01:58:41.947" v="3553" actId="20577"/>
          <ac:spMkLst>
            <pc:docMk/>
            <pc:sldMk cId="4092993056" sldId="2147473513"/>
            <ac:spMk id="4" creationId="{00000000-0000-0000-0000-000000000000}"/>
          </ac:spMkLst>
        </pc:spChg>
      </pc:sldChg>
      <pc:sldChg chg="addSp delSp modSp mod">
        <pc:chgData name="Tường SKHĐT" userId="ab9568c39a88b08a" providerId="LiveId" clId="{805CF0FB-80C6-433A-A325-AD1474DF2833}" dt="2023-03-09T01:58:52.416" v="3572" actId="14100"/>
        <pc:sldMkLst>
          <pc:docMk/>
          <pc:sldMk cId="1563031195" sldId="2147473516"/>
        </pc:sldMkLst>
        <pc:spChg chg="mod">
          <ac:chgData name="Tường SKHĐT" userId="ab9568c39a88b08a" providerId="LiveId" clId="{805CF0FB-80C6-433A-A325-AD1474DF2833}" dt="2023-03-09T01:58:49.443" v="3571" actId="20577"/>
          <ac:spMkLst>
            <pc:docMk/>
            <pc:sldMk cId="1563031195" sldId="2147473516"/>
            <ac:spMk id="4" creationId="{16D24723-A233-03FF-2329-1817AB93339D}"/>
          </ac:spMkLst>
        </pc:spChg>
        <pc:picChg chg="mod">
          <ac:chgData name="Tường SKHĐT" userId="ab9568c39a88b08a" providerId="LiveId" clId="{805CF0FB-80C6-433A-A325-AD1474DF2833}" dt="2023-03-08T08:28:20.557" v="2818" actId="1076"/>
          <ac:picMkLst>
            <pc:docMk/>
            <pc:sldMk cId="1563031195" sldId="2147473516"/>
            <ac:picMk id="2" creationId="{4D464A2C-A35A-0F4C-1B21-00ECD1B61550}"/>
          </ac:picMkLst>
        </pc:picChg>
        <pc:picChg chg="add mod">
          <ac:chgData name="Tường SKHĐT" userId="ab9568c39a88b08a" providerId="LiveId" clId="{805CF0FB-80C6-433A-A325-AD1474DF2833}" dt="2023-03-08T08:28:23.443" v="2819" actId="1076"/>
          <ac:picMkLst>
            <pc:docMk/>
            <pc:sldMk cId="1563031195" sldId="2147473516"/>
            <ac:picMk id="3" creationId="{0D298A81-C78B-6568-109E-EFA8EF6DD241}"/>
          </ac:picMkLst>
        </pc:picChg>
        <pc:picChg chg="del">
          <ac:chgData name="Tường SKHĐT" userId="ab9568c39a88b08a" providerId="LiveId" clId="{805CF0FB-80C6-433A-A325-AD1474DF2833}" dt="2023-03-08T08:28:15.066" v="2816" actId="21"/>
          <ac:picMkLst>
            <pc:docMk/>
            <pc:sldMk cId="1563031195" sldId="2147473516"/>
            <ac:picMk id="9" creationId="{B466986D-98F7-5ED9-EB66-B2288F820D38}"/>
          </ac:picMkLst>
        </pc:picChg>
        <pc:cxnChg chg="mod">
          <ac:chgData name="Tường SKHĐT" userId="ab9568c39a88b08a" providerId="LiveId" clId="{805CF0FB-80C6-433A-A325-AD1474DF2833}" dt="2023-03-09T01:58:52.416" v="3572" actId="14100"/>
          <ac:cxnSpMkLst>
            <pc:docMk/>
            <pc:sldMk cId="1563031195" sldId="2147473516"/>
            <ac:cxnSpMk id="6" creationId="{FF705920-E1B4-B4D0-9EA4-A27AA5761577}"/>
          </ac:cxnSpMkLst>
        </pc:cxnChg>
      </pc:sldChg>
      <pc:sldChg chg="modSp mod">
        <pc:chgData name="Tường SKHĐT" userId="ab9568c39a88b08a" providerId="LiveId" clId="{805CF0FB-80C6-433A-A325-AD1474DF2833}" dt="2023-03-09T02:00:02.594" v="3590" actId="14100"/>
        <pc:sldMkLst>
          <pc:docMk/>
          <pc:sldMk cId="3024842976" sldId="2147473518"/>
        </pc:sldMkLst>
        <pc:spChg chg="mod">
          <ac:chgData name="Tường SKHĐT" userId="ab9568c39a88b08a" providerId="LiveId" clId="{805CF0FB-80C6-433A-A325-AD1474DF2833}" dt="2023-03-09T01:59:58.741" v="3589"/>
          <ac:spMkLst>
            <pc:docMk/>
            <pc:sldMk cId="3024842976" sldId="2147473518"/>
            <ac:spMk id="4" creationId="{16D24723-A233-03FF-2329-1817AB93339D}"/>
          </ac:spMkLst>
        </pc:spChg>
        <pc:graphicFrameChg chg="modGraphic">
          <ac:chgData name="Tường SKHĐT" userId="ab9568c39a88b08a" providerId="LiveId" clId="{805CF0FB-80C6-433A-A325-AD1474DF2833}" dt="2023-03-09T01:57:59.966" v="3493" actId="20577"/>
          <ac:graphicFrameMkLst>
            <pc:docMk/>
            <pc:sldMk cId="3024842976" sldId="2147473518"/>
            <ac:graphicFrameMk id="8" creationId="{B5E5335D-2EED-82AF-3A59-FAE8BB94EAE1}"/>
          </ac:graphicFrameMkLst>
        </pc:graphicFrameChg>
        <pc:cxnChg chg="mod">
          <ac:chgData name="Tường SKHĐT" userId="ab9568c39a88b08a" providerId="LiveId" clId="{805CF0FB-80C6-433A-A325-AD1474DF2833}" dt="2023-03-09T02:00:02.594" v="3590" actId="14100"/>
          <ac:cxnSpMkLst>
            <pc:docMk/>
            <pc:sldMk cId="3024842976" sldId="2147473518"/>
            <ac:cxnSpMk id="6" creationId="{FF705920-E1B4-B4D0-9EA4-A27AA5761577}"/>
          </ac:cxnSpMkLst>
        </pc:cxnChg>
      </pc:sldChg>
      <pc:sldChg chg="modSp mod">
        <pc:chgData name="Tường SKHĐT" userId="ab9568c39a88b08a" providerId="LiveId" clId="{805CF0FB-80C6-433A-A325-AD1474DF2833}" dt="2023-03-09T02:00:14.201" v="3592" actId="14100"/>
        <pc:sldMkLst>
          <pc:docMk/>
          <pc:sldMk cId="2957479116" sldId="2147473519"/>
        </pc:sldMkLst>
        <pc:spChg chg="mod">
          <ac:chgData name="Tường SKHĐT" userId="ab9568c39a88b08a" providerId="LiveId" clId="{805CF0FB-80C6-433A-A325-AD1474DF2833}" dt="2023-03-09T02:00:11.759" v="3591"/>
          <ac:spMkLst>
            <pc:docMk/>
            <pc:sldMk cId="2957479116" sldId="2147473519"/>
            <ac:spMk id="4" creationId="{16D24723-A233-03FF-2329-1817AB93339D}"/>
          </ac:spMkLst>
        </pc:spChg>
        <pc:graphicFrameChg chg="modGraphic">
          <ac:chgData name="Tường SKHĐT" userId="ab9568c39a88b08a" providerId="LiveId" clId="{805CF0FB-80C6-433A-A325-AD1474DF2833}" dt="2023-03-08T09:53:14.608" v="3382" actId="20577"/>
          <ac:graphicFrameMkLst>
            <pc:docMk/>
            <pc:sldMk cId="2957479116" sldId="2147473519"/>
            <ac:graphicFrameMk id="8" creationId="{B5E5335D-2EED-82AF-3A59-FAE8BB94EAE1}"/>
          </ac:graphicFrameMkLst>
        </pc:graphicFrameChg>
        <pc:cxnChg chg="mod">
          <ac:chgData name="Tường SKHĐT" userId="ab9568c39a88b08a" providerId="LiveId" clId="{805CF0FB-80C6-433A-A325-AD1474DF2833}" dt="2023-03-09T02:00:14.201" v="3592" actId="14100"/>
          <ac:cxnSpMkLst>
            <pc:docMk/>
            <pc:sldMk cId="2957479116" sldId="2147473519"/>
            <ac:cxnSpMk id="6" creationId="{FF705920-E1B4-B4D0-9EA4-A27AA5761577}"/>
          </ac:cxnSpMkLst>
        </pc:cxnChg>
      </pc:sldChg>
      <pc:sldChg chg="modSp mod">
        <pc:chgData name="Tường SKHĐT" userId="ab9568c39a88b08a" providerId="LiveId" clId="{805CF0FB-80C6-433A-A325-AD1474DF2833}" dt="2023-03-09T02:00:57.355" v="3604" actId="14100"/>
        <pc:sldMkLst>
          <pc:docMk/>
          <pc:sldMk cId="2307671257" sldId="2147473521"/>
        </pc:sldMkLst>
        <pc:spChg chg="mod">
          <ac:chgData name="Tường SKHĐT" userId="ab9568c39a88b08a" providerId="LiveId" clId="{805CF0FB-80C6-433A-A325-AD1474DF2833}" dt="2023-03-09T02:00:53.318" v="3603"/>
          <ac:spMkLst>
            <pc:docMk/>
            <pc:sldMk cId="2307671257" sldId="2147473521"/>
            <ac:spMk id="4" creationId="{16D24723-A233-03FF-2329-1817AB93339D}"/>
          </ac:spMkLst>
        </pc:spChg>
        <pc:cxnChg chg="mod">
          <ac:chgData name="Tường SKHĐT" userId="ab9568c39a88b08a" providerId="LiveId" clId="{805CF0FB-80C6-433A-A325-AD1474DF2833}" dt="2023-03-09T02:00:57.355" v="3604" actId="14100"/>
          <ac:cxnSpMkLst>
            <pc:docMk/>
            <pc:sldMk cId="2307671257" sldId="2147473521"/>
            <ac:cxnSpMk id="6" creationId="{FF705920-E1B4-B4D0-9EA4-A27AA5761577}"/>
          </ac:cxnSpMkLst>
        </pc:cxnChg>
      </pc:sldChg>
      <pc:sldChg chg="addSp modSp mod">
        <pc:chgData name="Tường SKHĐT" userId="ab9568c39a88b08a" providerId="LiveId" clId="{805CF0FB-80C6-433A-A325-AD1474DF2833}" dt="2023-03-09T02:01:03.852" v="3606" actId="14100"/>
        <pc:sldMkLst>
          <pc:docMk/>
          <pc:sldMk cId="2802465441" sldId="2147473522"/>
        </pc:sldMkLst>
        <pc:spChg chg="mod">
          <ac:chgData name="Tường SKHĐT" userId="ab9568c39a88b08a" providerId="LiveId" clId="{805CF0FB-80C6-433A-A325-AD1474DF2833}" dt="2023-03-09T02:01:00.443" v="3605"/>
          <ac:spMkLst>
            <pc:docMk/>
            <pc:sldMk cId="2802465441" sldId="2147473522"/>
            <ac:spMk id="4" creationId="{16D24723-A233-03FF-2329-1817AB93339D}"/>
          </ac:spMkLst>
        </pc:spChg>
        <pc:spChg chg="mod">
          <ac:chgData name="Tường SKHĐT" userId="ab9568c39a88b08a" providerId="LiveId" clId="{805CF0FB-80C6-433A-A325-AD1474DF2833}" dt="2023-03-08T03:27:27.316" v="875" actId="1076"/>
          <ac:spMkLst>
            <pc:docMk/>
            <pc:sldMk cId="2802465441" sldId="2147473522"/>
            <ac:spMk id="25" creationId="{01DC26C3-E6F4-C27A-8624-3A65D81B6008}"/>
          </ac:spMkLst>
        </pc:spChg>
        <pc:graphicFrameChg chg="mod modGraphic">
          <ac:chgData name="Tường SKHĐT" userId="ab9568c39a88b08a" providerId="LiveId" clId="{805CF0FB-80C6-433A-A325-AD1474DF2833}" dt="2023-03-08T03:30:34.332" v="908" actId="20577"/>
          <ac:graphicFrameMkLst>
            <pc:docMk/>
            <pc:sldMk cId="2802465441" sldId="2147473522"/>
            <ac:graphicFrameMk id="9" creationId="{0FC7DBA8-03B5-1D5D-B7A1-68AA6F62DF7E}"/>
          </ac:graphicFrameMkLst>
        </pc:graphicFrameChg>
        <pc:picChg chg="mod">
          <ac:chgData name="Tường SKHĐT" userId="ab9568c39a88b08a" providerId="LiveId" clId="{805CF0FB-80C6-433A-A325-AD1474DF2833}" dt="2023-03-08T03:27:18.798" v="871" actId="1076"/>
          <ac:picMkLst>
            <pc:docMk/>
            <pc:sldMk cId="2802465441" sldId="2147473522"/>
            <ac:picMk id="3" creationId="{F1C86665-484F-794D-CFA7-5A2693500FE9}"/>
          </ac:picMkLst>
        </pc:picChg>
        <pc:picChg chg="add mod">
          <ac:chgData name="Tường SKHĐT" userId="ab9568c39a88b08a" providerId="LiveId" clId="{805CF0FB-80C6-433A-A325-AD1474DF2833}" dt="2023-03-08T03:27:22.301" v="873" actId="1076"/>
          <ac:picMkLst>
            <pc:docMk/>
            <pc:sldMk cId="2802465441" sldId="2147473522"/>
            <ac:picMk id="5" creationId="{A2E80A29-18BA-20CE-B5E1-822C6F11226D}"/>
          </ac:picMkLst>
        </pc:picChg>
        <pc:picChg chg="mod">
          <ac:chgData name="Tường SKHĐT" userId="ab9568c39a88b08a" providerId="LiveId" clId="{805CF0FB-80C6-433A-A325-AD1474DF2833}" dt="2023-03-08T03:27:20.127" v="872" actId="1076"/>
          <ac:picMkLst>
            <pc:docMk/>
            <pc:sldMk cId="2802465441" sldId="2147473522"/>
            <ac:picMk id="7" creationId="{26274E26-13C4-619E-13E0-2799671F389F}"/>
          </ac:picMkLst>
        </pc:picChg>
        <pc:cxnChg chg="mod">
          <ac:chgData name="Tường SKHĐT" userId="ab9568c39a88b08a" providerId="LiveId" clId="{805CF0FB-80C6-433A-A325-AD1474DF2833}" dt="2023-03-09T02:01:03.852" v="3606" actId="14100"/>
          <ac:cxnSpMkLst>
            <pc:docMk/>
            <pc:sldMk cId="2802465441" sldId="2147473522"/>
            <ac:cxnSpMk id="6" creationId="{FF705920-E1B4-B4D0-9EA4-A27AA5761577}"/>
          </ac:cxnSpMkLst>
        </pc:cxnChg>
      </pc:sldChg>
      <pc:sldChg chg="addSp modSp mod">
        <pc:chgData name="Tường SKHĐT" userId="ab9568c39a88b08a" providerId="LiveId" clId="{805CF0FB-80C6-433A-A325-AD1474DF2833}" dt="2023-03-08T03:21:11.456" v="807" actId="1076"/>
        <pc:sldMkLst>
          <pc:docMk/>
          <pc:sldMk cId="2589014937" sldId="2147473526"/>
        </pc:sldMkLst>
        <pc:spChg chg="mod">
          <ac:chgData name="Tường SKHĐT" userId="ab9568c39a88b08a" providerId="LiveId" clId="{805CF0FB-80C6-433A-A325-AD1474DF2833}" dt="2023-03-08T03:15:30.312" v="710" actId="1076"/>
          <ac:spMkLst>
            <pc:docMk/>
            <pc:sldMk cId="2589014937" sldId="2147473526"/>
            <ac:spMk id="2" creationId="{80607D77-8D89-B2B8-17A1-5EC409702721}"/>
          </ac:spMkLst>
        </pc:spChg>
        <pc:spChg chg="mod">
          <ac:chgData name="Tường SKHĐT" userId="ab9568c39a88b08a" providerId="LiveId" clId="{805CF0FB-80C6-433A-A325-AD1474DF2833}" dt="2023-03-08T03:15:30.312" v="710" actId="1076"/>
          <ac:spMkLst>
            <pc:docMk/>
            <pc:sldMk cId="2589014937" sldId="2147473526"/>
            <ac:spMk id="3" creationId="{A0D5D58A-756E-802D-A09E-1BEA6D184E77}"/>
          </ac:spMkLst>
        </pc:spChg>
        <pc:spChg chg="add mod">
          <ac:chgData name="Tường SKHĐT" userId="ab9568c39a88b08a" providerId="LiveId" clId="{805CF0FB-80C6-433A-A325-AD1474DF2833}" dt="2023-03-08T03:19:27.223" v="734"/>
          <ac:spMkLst>
            <pc:docMk/>
            <pc:sldMk cId="2589014937" sldId="2147473526"/>
            <ac:spMk id="4" creationId="{BBC7EEBC-AFA3-C4AC-D803-2EB717E2AF16}"/>
          </ac:spMkLst>
        </pc:spChg>
        <pc:spChg chg="add mod">
          <ac:chgData name="Tường SKHĐT" userId="ab9568c39a88b08a" providerId="LiveId" clId="{805CF0FB-80C6-433A-A325-AD1474DF2833}" dt="2023-03-08T03:21:01.815" v="806" actId="20577"/>
          <ac:spMkLst>
            <pc:docMk/>
            <pc:sldMk cId="2589014937" sldId="2147473526"/>
            <ac:spMk id="6" creationId="{81B6DC98-C123-5771-E46D-17ED3EE03739}"/>
          </ac:spMkLst>
        </pc:spChg>
        <pc:spChg chg="add mod">
          <ac:chgData name="Tường SKHĐT" userId="ab9568c39a88b08a" providerId="LiveId" clId="{805CF0FB-80C6-433A-A325-AD1474DF2833}" dt="2023-03-08T03:20:55.331" v="796" actId="1076"/>
          <ac:spMkLst>
            <pc:docMk/>
            <pc:sldMk cId="2589014937" sldId="2147473526"/>
            <ac:spMk id="7" creationId="{64BE4B93-62E9-2F63-31E4-4FC00E3A7867}"/>
          </ac:spMkLst>
        </pc:spChg>
        <pc:spChg chg="mod">
          <ac:chgData name="Tường SKHĐT" userId="ab9568c39a88b08a" providerId="LiveId" clId="{805CF0FB-80C6-433A-A325-AD1474DF2833}" dt="2023-03-08T03:15:30.312" v="710" actId="1076"/>
          <ac:spMkLst>
            <pc:docMk/>
            <pc:sldMk cId="2589014937" sldId="2147473526"/>
            <ac:spMk id="12" creationId="{850931EF-4279-23FD-6428-18C12049025E}"/>
          </ac:spMkLst>
        </pc:spChg>
        <pc:spChg chg="mod">
          <ac:chgData name="Tường SKHĐT" userId="ab9568c39a88b08a" providerId="LiveId" clId="{805CF0FB-80C6-433A-A325-AD1474DF2833}" dt="2023-03-08T03:15:30.312" v="710" actId="1076"/>
          <ac:spMkLst>
            <pc:docMk/>
            <pc:sldMk cId="2589014937" sldId="2147473526"/>
            <ac:spMk id="13" creationId="{CFB1DF66-0E98-FC84-B508-AAB8AC25D4B3}"/>
          </ac:spMkLst>
        </pc:spChg>
        <pc:spChg chg="mod">
          <ac:chgData name="Tường SKHĐT" userId="ab9568c39a88b08a" providerId="LiveId" clId="{805CF0FB-80C6-433A-A325-AD1474DF2833}" dt="2023-03-08T03:18:36.249" v="717" actId="1076"/>
          <ac:spMkLst>
            <pc:docMk/>
            <pc:sldMk cId="2589014937" sldId="2147473526"/>
            <ac:spMk id="14" creationId="{2FB61F8A-9A24-43C5-EEAD-699E1478B087}"/>
          </ac:spMkLst>
        </pc:spChg>
        <pc:spChg chg="mod">
          <ac:chgData name="Tường SKHĐT" userId="ab9568c39a88b08a" providerId="LiveId" clId="{805CF0FB-80C6-433A-A325-AD1474DF2833}" dt="2023-03-08T03:18:38.073" v="718" actId="1076"/>
          <ac:spMkLst>
            <pc:docMk/>
            <pc:sldMk cId="2589014937" sldId="2147473526"/>
            <ac:spMk id="15" creationId="{741F0E28-9B46-DEE8-72B4-31C74A048999}"/>
          </ac:spMkLst>
        </pc:spChg>
        <pc:spChg chg="mod">
          <ac:chgData name="Tường SKHĐT" userId="ab9568c39a88b08a" providerId="LiveId" clId="{805CF0FB-80C6-433A-A325-AD1474DF2833}" dt="2023-03-08T03:18:40.388" v="719" actId="1076"/>
          <ac:spMkLst>
            <pc:docMk/>
            <pc:sldMk cId="2589014937" sldId="2147473526"/>
            <ac:spMk id="16" creationId="{CD1FFBD1-4EFA-ED54-8F81-E3C9559069D4}"/>
          </ac:spMkLst>
        </pc:spChg>
        <pc:spChg chg="mod">
          <ac:chgData name="Tường SKHĐT" userId="ab9568c39a88b08a" providerId="LiveId" clId="{805CF0FB-80C6-433A-A325-AD1474DF2833}" dt="2023-03-08T03:15:30.312" v="710" actId="1076"/>
          <ac:spMkLst>
            <pc:docMk/>
            <pc:sldMk cId="2589014937" sldId="2147473526"/>
            <ac:spMk id="19" creationId="{122A9A1C-AFFE-3821-B2D0-B1BF037AF2EA}"/>
          </ac:spMkLst>
        </pc:spChg>
        <pc:spChg chg="mod">
          <ac:chgData name="Tường SKHĐT" userId="ab9568c39a88b08a" providerId="LiveId" clId="{805CF0FB-80C6-433A-A325-AD1474DF2833}" dt="2023-03-08T03:18:45.680" v="721" actId="1076"/>
          <ac:spMkLst>
            <pc:docMk/>
            <pc:sldMk cId="2589014937" sldId="2147473526"/>
            <ac:spMk id="20" creationId="{9EFE970E-0B98-B556-3A4B-E26C7CAD10CA}"/>
          </ac:spMkLst>
        </pc:spChg>
        <pc:spChg chg="mod">
          <ac:chgData name="Tường SKHĐT" userId="ab9568c39a88b08a" providerId="LiveId" clId="{805CF0FB-80C6-433A-A325-AD1474DF2833}" dt="2023-03-08T03:15:32.736" v="711" actId="1076"/>
          <ac:spMkLst>
            <pc:docMk/>
            <pc:sldMk cId="2589014937" sldId="2147473526"/>
            <ac:spMk id="27" creationId="{A7706305-8775-399E-5BBA-BC4870FA15F6}"/>
          </ac:spMkLst>
        </pc:spChg>
        <pc:spChg chg="mod">
          <ac:chgData name="Tường SKHĐT" userId="ab9568c39a88b08a" providerId="LiveId" clId="{805CF0FB-80C6-433A-A325-AD1474DF2833}" dt="2023-03-08T03:18:54.584" v="723" actId="14100"/>
          <ac:spMkLst>
            <pc:docMk/>
            <pc:sldMk cId="2589014937" sldId="2147473526"/>
            <ac:spMk id="718" creationId="{00000000-0000-0000-0000-000000000000}"/>
          </ac:spMkLst>
        </pc:spChg>
        <pc:spChg chg="mod">
          <ac:chgData name="Tường SKHĐT" userId="ab9568c39a88b08a" providerId="LiveId" clId="{805CF0FB-80C6-433A-A325-AD1474DF2833}" dt="2023-03-08T03:18:52.504" v="722" actId="1076"/>
          <ac:spMkLst>
            <pc:docMk/>
            <pc:sldMk cId="2589014937" sldId="2147473526"/>
            <ac:spMk id="719"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20" creationId="{00000000-0000-0000-0000-000000000000}"/>
          </ac:spMkLst>
        </pc:spChg>
        <pc:spChg chg="mod">
          <ac:chgData name="Tường SKHĐT" userId="ab9568c39a88b08a" providerId="LiveId" clId="{805CF0FB-80C6-433A-A325-AD1474DF2833}" dt="2023-03-08T03:18:32.931" v="716" actId="14100"/>
          <ac:spMkLst>
            <pc:docMk/>
            <pc:sldMk cId="2589014937" sldId="2147473526"/>
            <ac:spMk id="724"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25"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26" creationId="{00000000-0000-0000-0000-000000000000}"/>
          </ac:spMkLst>
        </pc:spChg>
        <pc:spChg chg="mod">
          <ac:chgData name="Tường SKHĐT" userId="ab9568c39a88b08a" providerId="LiveId" clId="{805CF0FB-80C6-433A-A325-AD1474DF2833}" dt="2023-03-08T03:15:30.312" v="710" actId="1076"/>
          <ac:spMkLst>
            <pc:docMk/>
            <pc:sldMk cId="2589014937" sldId="2147473526"/>
            <ac:spMk id="730" creationId="{76FC2223-CBDC-4B1C-A8C6-0DBB61B65684}"/>
          </ac:spMkLst>
        </pc:spChg>
        <pc:picChg chg="mod">
          <ac:chgData name="Tường SKHĐT" userId="ab9568c39a88b08a" providerId="LiveId" clId="{805CF0FB-80C6-433A-A325-AD1474DF2833}" dt="2023-03-08T03:21:11.456" v="807" actId="1076"/>
          <ac:picMkLst>
            <pc:docMk/>
            <pc:sldMk cId="2589014937" sldId="2147473526"/>
            <ac:picMk id="5" creationId="{FA953A66-BAF1-340A-A407-B9DFF5A3A068}"/>
          </ac:picMkLst>
        </pc:picChg>
        <pc:cxnChg chg="mod">
          <ac:chgData name="Tường SKHĐT" userId="ab9568c39a88b08a" providerId="LiveId" clId="{805CF0FB-80C6-433A-A325-AD1474DF2833}" dt="2023-03-08T03:15:30.312" v="710" actId="1076"/>
          <ac:cxnSpMkLst>
            <pc:docMk/>
            <pc:sldMk cId="2589014937" sldId="2147473526"/>
            <ac:cxnSpMk id="22" creationId="{76FB1604-8EE6-1B4A-8BEC-955916948809}"/>
          </ac:cxnSpMkLst>
        </pc:cxnChg>
        <pc:cxnChg chg="mod">
          <ac:chgData name="Tường SKHĐT" userId="ab9568c39a88b08a" providerId="LiveId" clId="{805CF0FB-80C6-433A-A325-AD1474DF2833}" dt="2023-03-08T03:15:30.312" v="710" actId="1076"/>
          <ac:cxnSpMkLst>
            <pc:docMk/>
            <pc:sldMk cId="2589014937" sldId="2147473526"/>
            <ac:cxnSpMk id="24" creationId="{4E2C09AD-1B29-015F-4185-E01171AA1855}"/>
          </ac:cxnSpMkLst>
        </pc:cxnChg>
        <pc:cxnChg chg="mod">
          <ac:chgData name="Tường SKHĐT" userId="ab9568c39a88b08a" providerId="LiveId" clId="{805CF0FB-80C6-433A-A325-AD1474DF2833}" dt="2023-03-08T03:15:30.312" v="710" actId="1076"/>
          <ac:cxnSpMkLst>
            <pc:docMk/>
            <pc:sldMk cId="2589014937" sldId="2147473526"/>
            <ac:cxnSpMk id="26" creationId="{169C6F43-6D5B-95B4-AB42-3B41CFB5B6B7}"/>
          </ac:cxnSpMkLst>
        </pc:cxnChg>
      </pc:sldChg>
      <pc:sldChg chg="modSp mod">
        <pc:chgData name="Tường SKHĐT" userId="ab9568c39a88b08a" providerId="LiveId" clId="{805CF0FB-80C6-433A-A325-AD1474DF2833}" dt="2023-03-09T01:59:48.225" v="3586" actId="14100"/>
        <pc:sldMkLst>
          <pc:docMk/>
          <pc:sldMk cId="269414345" sldId="2147473528"/>
        </pc:sldMkLst>
        <pc:spChg chg="mod">
          <ac:chgData name="Tường SKHĐT" userId="ab9568c39a88b08a" providerId="LiveId" clId="{805CF0FB-80C6-433A-A325-AD1474DF2833}" dt="2023-03-09T01:59:45.416" v="3585"/>
          <ac:spMkLst>
            <pc:docMk/>
            <pc:sldMk cId="269414345" sldId="2147473528"/>
            <ac:spMk id="4" creationId="{16D24723-A233-03FF-2329-1817AB93339D}"/>
          </ac:spMkLst>
        </pc:spChg>
        <pc:spChg chg="mod">
          <ac:chgData name="Tường SKHĐT" userId="ab9568c39a88b08a" providerId="LiveId" clId="{805CF0FB-80C6-433A-A325-AD1474DF2833}" dt="2023-03-08T01:24:10.519" v="17" actId="20577"/>
          <ac:spMkLst>
            <pc:docMk/>
            <pc:sldMk cId="269414345" sldId="2147473528"/>
            <ac:spMk id="25" creationId="{01DC26C3-E6F4-C27A-8624-3A65D81B6008}"/>
          </ac:spMkLst>
        </pc:spChg>
        <pc:cxnChg chg="mod">
          <ac:chgData name="Tường SKHĐT" userId="ab9568c39a88b08a" providerId="LiveId" clId="{805CF0FB-80C6-433A-A325-AD1474DF2833}" dt="2023-03-09T01:59:48.225" v="3586" actId="14100"/>
          <ac:cxnSpMkLst>
            <pc:docMk/>
            <pc:sldMk cId="269414345" sldId="2147473528"/>
            <ac:cxnSpMk id="6" creationId="{FF705920-E1B4-B4D0-9EA4-A27AA5761577}"/>
          </ac:cxnSpMkLst>
        </pc:cxnChg>
      </pc:sldChg>
      <pc:sldChg chg="modSp mod">
        <pc:chgData name="Tường SKHĐT" userId="ab9568c39a88b08a" providerId="LiveId" clId="{805CF0FB-80C6-433A-A325-AD1474DF2833}" dt="2023-03-09T10:27:49.583" v="5670" actId="20577"/>
        <pc:sldMkLst>
          <pc:docMk/>
          <pc:sldMk cId="1079553522" sldId="2147473530"/>
        </pc:sldMkLst>
        <pc:spChg chg="mod">
          <ac:chgData name="Tường SKHĐT" userId="ab9568c39a88b08a" providerId="LiveId" clId="{805CF0FB-80C6-433A-A325-AD1474DF2833}" dt="2023-03-09T10:27:49.583" v="5670" actId="20577"/>
          <ac:spMkLst>
            <pc:docMk/>
            <pc:sldMk cId="1079553522" sldId="2147473530"/>
            <ac:spMk id="4" creationId="{A8ED73C0-6DEB-F036-A81D-A84B4FA62951}"/>
          </ac:spMkLst>
        </pc:spChg>
      </pc:sldChg>
      <pc:sldChg chg="addSp delSp modSp mod">
        <pc:chgData name="Tường SKHĐT" userId="ab9568c39a88b08a" providerId="LiveId" clId="{805CF0FB-80C6-433A-A325-AD1474DF2833}" dt="2023-03-09T01:59:09.773" v="3574" actId="14100"/>
        <pc:sldMkLst>
          <pc:docMk/>
          <pc:sldMk cId="3856454999" sldId="2147473538"/>
        </pc:sldMkLst>
        <pc:spChg chg="mod">
          <ac:chgData name="Tường SKHĐT" userId="ab9568c39a88b08a" providerId="LiveId" clId="{805CF0FB-80C6-433A-A325-AD1474DF2833}" dt="2023-03-09T01:59:04.798" v="3573"/>
          <ac:spMkLst>
            <pc:docMk/>
            <pc:sldMk cId="3856454999" sldId="2147473538"/>
            <ac:spMk id="4" creationId="{16D24723-A233-03FF-2329-1817AB93339D}"/>
          </ac:spMkLst>
        </pc:spChg>
        <pc:graphicFrameChg chg="add mod modGraphic">
          <ac:chgData name="Tường SKHĐT" userId="ab9568c39a88b08a" providerId="LiveId" clId="{805CF0FB-80C6-433A-A325-AD1474DF2833}" dt="2023-03-08T08:27:49.359" v="2814"/>
          <ac:graphicFrameMkLst>
            <pc:docMk/>
            <pc:sldMk cId="3856454999" sldId="2147473538"/>
            <ac:graphicFrameMk id="2" creationId="{EEB44773-BF1C-4685-F3FA-DE414C0B2FAD}"/>
          </ac:graphicFrameMkLst>
        </pc:graphicFrameChg>
        <pc:graphicFrameChg chg="del modGraphic">
          <ac:chgData name="Tường SKHĐT" userId="ab9568c39a88b08a" providerId="LiveId" clId="{805CF0FB-80C6-433A-A325-AD1474DF2833}" dt="2023-03-08T08:26:51.351" v="2797" actId="21"/>
          <ac:graphicFrameMkLst>
            <pc:docMk/>
            <pc:sldMk cId="3856454999" sldId="2147473538"/>
            <ac:graphicFrameMk id="7" creationId="{4B1CB47D-4416-A097-B1E9-B34AEDDFEDFA}"/>
          </ac:graphicFrameMkLst>
        </pc:graphicFrameChg>
        <pc:cxnChg chg="mod">
          <ac:chgData name="Tường SKHĐT" userId="ab9568c39a88b08a" providerId="LiveId" clId="{805CF0FB-80C6-433A-A325-AD1474DF2833}" dt="2023-03-09T01:59:09.773" v="3574" actId="14100"/>
          <ac:cxnSpMkLst>
            <pc:docMk/>
            <pc:sldMk cId="3856454999" sldId="2147473538"/>
            <ac:cxnSpMk id="6" creationId="{FF705920-E1B4-B4D0-9EA4-A27AA5761577}"/>
          </ac:cxnSpMkLst>
        </pc:cxnChg>
      </pc:sldChg>
      <pc:sldChg chg="addSp delSp modSp mod">
        <pc:chgData name="Tường SKHĐT" userId="ab9568c39a88b08a" providerId="LiveId" clId="{805CF0FB-80C6-433A-A325-AD1474DF2833}" dt="2023-03-09T07:29:02.098" v="4380" actId="14734"/>
        <pc:sldMkLst>
          <pc:docMk/>
          <pc:sldMk cId="3246394076" sldId="2147473540"/>
        </pc:sldMkLst>
        <pc:spChg chg="mod">
          <ac:chgData name="Tường SKHĐT" userId="ab9568c39a88b08a" providerId="LiveId" clId="{805CF0FB-80C6-433A-A325-AD1474DF2833}" dt="2023-03-09T01:59:12.306" v="3575"/>
          <ac:spMkLst>
            <pc:docMk/>
            <pc:sldMk cId="3246394076" sldId="2147473540"/>
            <ac:spMk id="4" creationId="{16D24723-A233-03FF-2329-1817AB93339D}"/>
          </ac:spMkLst>
        </pc:spChg>
        <pc:graphicFrameChg chg="add mod modGraphic">
          <ac:chgData name="Tường SKHĐT" userId="ab9568c39a88b08a" providerId="LiveId" clId="{805CF0FB-80C6-433A-A325-AD1474DF2833}" dt="2023-03-09T07:29:02.098" v="4380" actId="14734"/>
          <ac:graphicFrameMkLst>
            <pc:docMk/>
            <pc:sldMk cId="3246394076" sldId="2147473540"/>
            <ac:graphicFrameMk id="2" creationId="{383F49E2-AC48-3F99-F898-EB1015A826E4}"/>
          </ac:graphicFrameMkLst>
        </pc:graphicFrameChg>
        <pc:graphicFrameChg chg="mod modGraphic">
          <ac:chgData name="Tường SKHĐT" userId="ab9568c39a88b08a" providerId="LiveId" clId="{805CF0FB-80C6-433A-A325-AD1474DF2833}" dt="2023-03-09T07:28:45.766" v="4377" actId="14100"/>
          <ac:graphicFrameMkLst>
            <pc:docMk/>
            <pc:sldMk cId="3246394076" sldId="2147473540"/>
            <ac:graphicFrameMk id="8" creationId="{B5E5335D-2EED-82AF-3A59-FAE8BB94EAE1}"/>
          </ac:graphicFrameMkLst>
        </pc:graphicFrameChg>
        <pc:graphicFrameChg chg="del mod modGraphic">
          <ac:chgData name="Tường SKHĐT" userId="ab9568c39a88b08a" providerId="LiveId" clId="{805CF0FB-80C6-433A-A325-AD1474DF2833}" dt="2023-03-08T08:29:54.374" v="2859" actId="21"/>
          <ac:graphicFrameMkLst>
            <pc:docMk/>
            <pc:sldMk cId="3246394076" sldId="2147473540"/>
            <ac:graphicFrameMk id="10" creationId="{8E7087F5-D658-8CDB-7D18-3EEA8C8807BD}"/>
          </ac:graphicFrameMkLst>
        </pc:graphicFrameChg>
        <pc:picChg chg="del">
          <ac:chgData name="Tường SKHĐT" userId="ab9568c39a88b08a" providerId="LiveId" clId="{805CF0FB-80C6-433A-A325-AD1474DF2833}" dt="2023-03-08T08:28:29.855" v="2820" actId="21"/>
          <ac:picMkLst>
            <pc:docMk/>
            <pc:sldMk cId="3246394076" sldId="2147473540"/>
            <ac:picMk id="7" creationId="{AEDBEDB4-DFF5-FABD-B0B5-6F254C16099F}"/>
          </ac:picMkLst>
        </pc:picChg>
        <pc:cxnChg chg="mod">
          <ac:chgData name="Tường SKHĐT" userId="ab9568c39a88b08a" providerId="LiveId" clId="{805CF0FB-80C6-433A-A325-AD1474DF2833}" dt="2023-03-09T01:59:16.013" v="3576" actId="14100"/>
          <ac:cxnSpMkLst>
            <pc:docMk/>
            <pc:sldMk cId="3246394076" sldId="2147473540"/>
            <ac:cxnSpMk id="6" creationId="{FF705920-E1B4-B4D0-9EA4-A27AA5761577}"/>
          </ac:cxnSpMkLst>
        </pc:cxnChg>
      </pc:sldChg>
      <pc:sldChg chg="modSp del mod">
        <pc:chgData name="Tường SKHĐT" userId="ab9568c39a88b08a" providerId="LiveId" clId="{805CF0FB-80C6-433A-A325-AD1474DF2833}" dt="2023-03-09T07:49:26.482" v="4485" actId="2696"/>
        <pc:sldMkLst>
          <pc:docMk/>
          <pc:sldMk cId="2298926727" sldId="2147473541"/>
        </pc:sldMkLst>
        <pc:spChg chg="mod">
          <ac:chgData name="Tường SKHĐT" userId="ab9568c39a88b08a" providerId="LiveId" clId="{805CF0FB-80C6-433A-A325-AD1474DF2833}" dt="2023-03-09T01:59:33.748" v="3581"/>
          <ac:spMkLst>
            <pc:docMk/>
            <pc:sldMk cId="2298926727" sldId="2147473541"/>
            <ac:spMk id="4" creationId="{16D24723-A233-03FF-2329-1817AB93339D}"/>
          </ac:spMkLst>
        </pc:spChg>
        <pc:graphicFrameChg chg="modGraphic">
          <ac:chgData name="Tường SKHĐT" userId="ab9568c39a88b08a" providerId="LiveId" clId="{805CF0FB-80C6-433A-A325-AD1474DF2833}" dt="2023-03-08T09:26:18.128" v="2982" actId="207"/>
          <ac:graphicFrameMkLst>
            <pc:docMk/>
            <pc:sldMk cId="2298926727" sldId="2147473541"/>
            <ac:graphicFrameMk id="8" creationId="{B5E5335D-2EED-82AF-3A59-FAE8BB94EAE1}"/>
          </ac:graphicFrameMkLst>
        </pc:graphicFrameChg>
        <pc:cxnChg chg="mod">
          <ac:chgData name="Tường SKHĐT" userId="ab9568c39a88b08a" providerId="LiveId" clId="{805CF0FB-80C6-433A-A325-AD1474DF2833}" dt="2023-03-09T01:59:36.271" v="3582" actId="14100"/>
          <ac:cxnSpMkLst>
            <pc:docMk/>
            <pc:sldMk cId="2298926727" sldId="2147473541"/>
            <ac:cxnSpMk id="6" creationId="{FF705920-E1B4-B4D0-9EA4-A27AA5761577}"/>
          </ac:cxnSpMkLst>
        </pc:cxnChg>
      </pc:sldChg>
      <pc:sldChg chg="addSp delSp modSp mod setBg">
        <pc:chgData name="Tường SKHĐT" userId="ab9568c39a88b08a" providerId="LiveId" clId="{805CF0FB-80C6-433A-A325-AD1474DF2833}" dt="2023-03-08T01:41:00.091" v="480" actId="1076"/>
        <pc:sldMkLst>
          <pc:docMk/>
          <pc:sldMk cId="1893164686" sldId="2147473543"/>
        </pc:sldMkLst>
        <pc:spChg chg="mod ord">
          <ac:chgData name="Tường SKHĐT" userId="ab9568c39a88b08a" providerId="LiveId" clId="{805CF0FB-80C6-433A-A325-AD1474DF2833}" dt="2023-03-08T01:40:56.692" v="479" actId="26606"/>
          <ac:spMkLst>
            <pc:docMk/>
            <pc:sldMk cId="1893164686" sldId="2147473543"/>
            <ac:spMk id="27" creationId="{A7706305-8775-399E-5BBA-BC4870FA15F6}"/>
          </ac:spMkLst>
        </pc:spChg>
        <pc:spChg chg="add del">
          <ac:chgData name="Tường SKHĐT" userId="ab9568c39a88b08a" providerId="LiveId" clId="{805CF0FB-80C6-433A-A325-AD1474DF2833}" dt="2023-03-08T01:40:37.565" v="465" actId="26606"/>
          <ac:spMkLst>
            <pc:docMk/>
            <pc:sldMk cId="1893164686" sldId="2147473543"/>
            <ac:spMk id="29" creationId="{427F7AF4-72C6-4B71-9E40-53E8BFEF36B2}"/>
          </ac:spMkLst>
        </pc:spChg>
        <pc:spChg chg="add del">
          <ac:chgData name="Tường SKHĐT" userId="ab9568c39a88b08a" providerId="LiveId" clId="{805CF0FB-80C6-433A-A325-AD1474DF2833}" dt="2023-03-08T01:40:56.692" v="479" actId="26606"/>
          <ac:spMkLst>
            <pc:docMk/>
            <pc:sldMk cId="1893164686" sldId="2147473543"/>
            <ac:spMk id="30" creationId="{A8384FB5-9ADC-4DDC-881B-597D56F5B15D}"/>
          </ac:spMkLst>
        </pc:spChg>
        <pc:spChg chg="add del">
          <ac:chgData name="Tường SKHĐT" userId="ab9568c39a88b08a" providerId="LiveId" clId="{805CF0FB-80C6-433A-A325-AD1474DF2833}" dt="2023-03-08T01:40:39.379" v="467" actId="26606"/>
          <ac:spMkLst>
            <pc:docMk/>
            <pc:sldMk cId="1893164686" sldId="2147473543"/>
            <ac:spMk id="31" creationId="{A4AC5506-6312-4701-8D3C-40187889A947}"/>
          </ac:spMkLst>
        </pc:spChg>
        <pc:spChg chg="add del">
          <ac:chgData name="Tường SKHĐT" userId="ab9568c39a88b08a" providerId="LiveId" clId="{805CF0FB-80C6-433A-A325-AD1474DF2833}" dt="2023-03-08T01:38:03.772" v="445" actId="26606"/>
          <ac:spMkLst>
            <pc:docMk/>
            <pc:sldMk cId="1893164686" sldId="2147473543"/>
            <ac:spMk id="32" creationId="{D4771268-CB57-404A-9271-370EB28F6090}"/>
          </ac:spMkLst>
        </pc:spChg>
        <pc:spChg chg="add del">
          <ac:chgData name="Tường SKHĐT" userId="ab9568c39a88b08a" providerId="LiveId" clId="{805CF0FB-80C6-433A-A325-AD1474DF2833}" dt="2023-03-08T01:40:40.199" v="469" actId="26606"/>
          <ac:spMkLst>
            <pc:docMk/>
            <pc:sldMk cId="1893164686" sldId="2147473543"/>
            <ac:spMk id="33" creationId="{A4DE4307-BDF3-4CB8-BB73-53E14EF990E0}"/>
          </ac:spMkLst>
        </pc:spChg>
        <pc:spChg chg="add del">
          <ac:chgData name="Tường SKHĐT" userId="ab9568c39a88b08a" providerId="LiveId" clId="{805CF0FB-80C6-433A-A325-AD1474DF2833}" dt="2023-03-08T01:38:06.333" v="447" actId="26606"/>
          <ac:spMkLst>
            <pc:docMk/>
            <pc:sldMk cId="1893164686" sldId="2147473543"/>
            <ac:spMk id="34" creationId="{D12DDE76-C203-4047-9998-63900085B5E8}"/>
          </ac:spMkLst>
        </pc:spChg>
        <pc:spChg chg="add del">
          <ac:chgData name="Tường SKHĐT" userId="ab9568c39a88b08a" providerId="LiveId" clId="{805CF0FB-80C6-433A-A325-AD1474DF2833}" dt="2023-03-08T01:40:42.380" v="471" actId="26606"/>
          <ac:spMkLst>
            <pc:docMk/>
            <pc:sldMk cId="1893164686" sldId="2147473543"/>
            <ac:spMk id="35" creationId="{C1DD1A8A-57D5-4A81-AD04-532B043C5611}"/>
          </ac:spMkLst>
        </pc:spChg>
        <pc:spChg chg="add del">
          <ac:chgData name="Tường SKHĐT" userId="ab9568c39a88b08a" providerId="LiveId" clId="{805CF0FB-80C6-433A-A325-AD1474DF2833}" dt="2023-03-08T01:38:10.777" v="449" actId="26606"/>
          <ac:spMkLst>
            <pc:docMk/>
            <pc:sldMk cId="1893164686" sldId="2147473543"/>
            <ac:spMk id="36" creationId="{AC477752-ACCA-41C1-9B1D-D0CED1F9CBDD}"/>
          </ac:spMkLst>
        </pc:spChg>
        <pc:spChg chg="add del">
          <ac:chgData name="Tường SKHĐT" userId="ab9568c39a88b08a" providerId="LiveId" clId="{805CF0FB-80C6-433A-A325-AD1474DF2833}" dt="2023-03-08T01:40:42.380" v="471" actId="26606"/>
          <ac:spMkLst>
            <pc:docMk/>
            <pc:sldMk cId="1893164686" sldId="2147473543"/>
            <ac:spMk id="37" creationId="{007891EC-4501-44ED-A8C8-B11B6DB767AB}"/>
          </ac:spMkLst>
        </pc:spChg>
        <pc:spChg chg="add del">
          <ac:chgData name="Tường SKHĐT" userId="ab9568c39a88b08a" providerId="LiveId" clId="{805CF0FB-80C6-433A-A325-AD1474DF2833}" dt="2023-03-08T01:38:16.603" v="453" actId="26606"/>
          <ac:spMkLst>
            <pc:docMk/>
            <pc:sldMk cId="1893164686" sldId="2147473543"/>
            <ac:spMk id="38" creationId="{D4D28E87-62D2-4602-B72F-5F74AA236CC3}"/>
          </ac:spMkLst>
        </pc:spChg>
        <pc:spChg chg="add del">
          <ac:chgData name="Tường SKHĐT" userId="ab9568c39a88b08a" providerId="LiveId" clId="{805CF0FB-80C6-433A-A325-AD1474DF2833}" dt="2023-03-08T01:40:44.577" v="473" actId="26606"/>
          <ac:spMkLst>
            <pc:docMk/>
            <pc:sldMk cId="1893164686" sldId="2147473543"/>
            <ac:spMk id="39" creationId="{5AE63076-3880-48E0-984D-9447AFA976DA}"/>
          </ac:spMkLst>
        </pc:spChg>
        <pc:spChg chg="add del">
          <ac:chgData name="Tường SKHĐT" userId="ab9568c39a88b08a" providerId="LiveId" clId="{805CF0FB-80C6-433A-A325-AD1474DF2833}" dt="2023-03-08T01:40:56.692" v="479" actId="26606"/>
          <ac:spMkLst>
            <pc:docMk/>
            <pc:sldMk cId="1893164686" sldId="2147473543"/>
            <ac:spMk id="40" creationId="{1199E1B1-A8C0-4FE8-A5A8-1CB41D69F857}"/>
          </ac:spMkLst>
        </pc:spChg>
        <pc:spChg chg="add del">
          <ac:chgData name="Tường SKHĐT" userId="ab9568c39a88b08a" providerId="LiveId" clId="{805CF0FB-80C6-433A-A325-AD1474DF2833}" dt="2023-03-08T01:40:45.181" v="475" actId="26606"/>
          <ac:spMkLst>
            <pc:docMk/>
            <pc:sldMk cId="1893164686" sldId="2147473543"/>
            <ac:spMk id="41" creationId="{D4D28E87-62D2-4602-B72F-5F74AA236CC3}"/>
          </ac:spMkLst>
        </pc:spChg>
        <pc:spChg chg="add del">
          <ac:chgData name="Tường SKHĐT" userId="ab9568c39a88b08a" providerId="LiveId" clId="{805CF0FB-80C6-433A-A325-AD1474DF2833}" dt="2023-03-08T01:40:56.692" v="479" actId="26606"/>
          <ac:spMkLst>
            <pc:docMk/>
            <pc:sldMk cId="1893164686" sldId="2147473543"/>
            <ac:spMk id="42" creationId="{84A8DE83-DE75-4B41-9DB4-A7EC0B0DEC0B}"/>
          </ac:spMkLst>
        </pc:spChg>
        <pc:spChg chg="add del">
          <ac:chgData name="Tường SKHĐT" userId="ab9568c39a88b08a" providerId="LiveId" clId="{805CF0FB-80C6-433A-A325-AD1474DF2833}" dt="2023-03-08T01:40:56.692" v="479" actId="26606"/>
          <ac:spMkLst>
            <pc:docMk/>
            <pc:sldMk cId="1893164686" sldId="2147473543"/>
            <ac:spMk id="43" creationId="{A7009A0A-BEF5-4EAC-AF15-E4F9F002E239}"/>
          </ac:spMkLst>
        </pc:spChg>
        <pc:graphicFrameChg chg="add del mod">
          <ac:chgData name="Tường SKHĐT" userId="ab9568c39a88b08a" providerId="LiveId" clId="{805CF0FB-80C6-433A-A325-AD1474DF2833}" dt="2023-03-08T01:38:27.812" v="456"/>
          <ac:graphicFrameMkLst>
            <pc:docMk/>
            <pc:sldMk cId="1893164686" sldId="2147473543"/>
            <ac:graphicFrameMk id="3" creationId="{5712BD10-E8E1-218E-E159-46F613B001A2}"/>
          </ac:graphicFrameMkLst>
        </pc:graphicFrameChg>
        <pc:picChg chg="add del mod">
          <ac:chgData name="Tường SKHĐT" userId="ab9568c39a88b08a" providerId="LiveId" clId="{805CF0FB-80C6-433A-A325-AD1474DF2833}" dt="2023-03-08T01:38:18.996" v="454" actId="21"/>
          <ac:picMkLst>
            <pc:docMk/>
            <pc:sldMk cId="1893164686" sldId="2147473543"/>
            <ac:picMk id="2" creationId="{C2DC94EE-6B4C-EC59-F4B2-BBBF036F9BFA}"/>
          </ac:picMkLst>
        </pc:picChg>
        <pc:picChg chg="add mod">
          <ac:chgData name="Tường SKHĐT" userId="ab9568c39a88b08a" providerId="LiveId" clId="{805CF0FB-80C6-433A-A325-AD1474DF2833}" dt="2023-03-08T01:41:00.091" v="480" actId="1076"/>
          <ac:picMkLst>
            <pc:docMk/>
            <pc:sldMk cId="1893164686" sldId="2147473543"/>
            <ac:picMk id="5" creationId="{5CD19AE0-0900-8829-8BCC-145B3964A8CD}"/>
          </ac:picMkLst>
        </pc:picChg>
        <pc:picChg chg="add del">
          <ac:chgData name="Tường SKHĐT" userId="ab9568c39a88b08a" providerId="LiveId" clId="{805CF0FB-80C6-433A-A325-AD1474DF2833}" dt="2023-03-08T01:37:53.822" v="442" actId="21"/>
          <ac:picMkLst>
            <pc:docMk/>
            <pc:sldMk cId="1893164686" sldId="2147473543"/>
            <ac:picMk id="6" creationId="{0D91BA1C-308B-0BF9-8A33-E2FF42C456DF}"/>
          </ac:picMkLst>
        </pc:picChg>
      </pc:sldChg>
      <pc:sldChg chg="addSp delSp modSp add mod">
        <pc:chgData name="Tường SKHĐT" userId="ab9568c39a88b08a" providerId="LiveId" clId="{805CF0FB-80C6-433A-A325-AD1474DF2833}" dt="2023-03-09T02:00:43.125" v="3600" actId="14100"/>
        <pc:sldMkLst>
          <pc:docMk/>
          <pc:sldMk cId="4130804454" sldId="2147473544"/>
        </pc:sldMkLst>
        <pc:spChg chg="mod">
          <ac:chgData name="Tường SKHĐT" userId="ab9568c39a88b08a" providerId="LiveId" clId="{805CF0FB-80C6-433A-A325-AD1474DF2833}" dt="2023-03-09T02:00:39.431" v="3599"/>
          <ac:spMkLst>
            <pc:docMk/>
            <pc:sldMk cId="4130804454" sldId="2147473544"/>
            <ac:spMk id="4" creationId="{16D24723-A233-03FF-2329-1817AB93339D}"/>
          </ac:spMkLst>
        </pc:spChg>
        <pc:spChg chg="mod">
          <ac:chgData name="Tường SKHĐT" userId="ab9568c39a88b08a" providerId="LiveId" clId="{805CF0FB-80C6-433A-A325-AD1474DF2833}" dt="2023-03-08T01:55:07.188" v="700" actId="20577"/>
          <ac:spMkLst>
            <pc:docMk/>
            <pc:sldMk cId="4130804454" sldId="2147473544"/>
            <ac:spMk id="25" creationId="{01DC26C3-E6F4-C27A-8624-3A65D81B6008}"/>
          </ac:spMkLst>
        </pc:spChg>
        <pc:graphicFrameChg chg="del">
          <ac:chgData name="Tường SKHĐT" userId="ab9568c39a88b08a" providerId="LiveId" clId="{805CF0FB-80C6-433A-A325-AD1474DF2833}" dt="2023-03-08T01:49:40.505" v="588" actId="21"/>
          <ac:graphicFrameMkLst>
            <pc:docMk/>
            <pc:sldMk cId="4130804454" sldId="2147473544"/>
            <ac:graphicFrameMk id="2" creationId="{8986BBEE-AF8E-768A-0DA0-978B470B894D}"/>
          </ac:graphicFrameMkLst>
        </pc:graphicFrameChg>
        <pc:graphicFrameChg chg="del">
          <ac:chgData name="Tường SKHĐT" userId="ab9568c39a88b08a" providerId="LiveId" clId="{805CF0FB-80C6-433A-A325-AD1474DF2833}" dt="2023-03-08T01:51:10.895" v="621" actId="21"/>
          <ac:graphicFrameMkLst>
            <pc:docMk/>
            <pc:sldMk cId="4130804454" sldId="2147473544"/>
            <ac:graphicFrameMk id="3" creationId="{FD0E7B3C-C855-A7AE-2233-282E95781052}"/>
          </ac:graphicFrameMkLst>
        </pc:graphicFrameChg>
        <pc:graphicFrameChg chg="add mod">
          <ac:chgData name="Tường SKHĐT" userId="ab9568c39a88b08a" providerId="LiveId" clId="{805CF0FB-80C6-433A-A325-AD1474DF2833}" dt="2023-03-08T01:51:15.346" v="622" actId="1076"/>
          <ac:graphicFrameMkLst>
            <pc:docMk/>
            <pc:sldMk cId="4130804454" sldId="2147473544"/>
            <ac:graphicFrameMk id="5" creationId="{6FEF8E8F-912E-AFD3-F733-73DBAFEA3824}"/>
          </ac:graphicFrameMkLst>
        </pc:graphicFrameChg>
        <pc:graphicFrameChg chg="add mod modGraphic">
          <ac:chgData name="Tường SKHĐT" userId="ab9568c39a88b08a" providerId="LiveId" clId="{805CF0FB-80C6-433A-A325-AD1474DF2833}" dt="2023-03-08T01:54:03.477" v="643" actId="1076"/>
          <ac:graphicFrameMkLst>
            <pc:docMk/>
            <pc:sldMk cId="4130804454" sldId="2147473544"/>
            <ac:graphicFrameMk id="7" creationId="{DE684BB8-737C-326F-CC34-B8AF674B74F8}"/>
          </ac:graphicFrameMkLst>
        </pc:graphicFrameChg>
        <pc:cxnChg chg="mod">
          <ac:chgData name="Tường SKHĐT" userId="ab9568c39a88b08a" providerId="LiveId" clId="{805CF0FB-80C6-433A-A325-AD1474DF2833}" dt="2023-03-09T02:00:43.125" v="3600" actId="14100"/>
          <ac:cxnSpMkLst>
            <pc:docMk/>
            <pc:sldMk cId="4130804454" sldId="2147473544"/>
            <ac:cxnSpMk id="6" creationId="{FF705920-E1B4-B4D0-9EA4-A27AA5761577}"/>
          </ac:cxnSpMkLst>
        </pc:cxnChg>
      </pc:sldChg>
      <pc:sldChg chg="modSp mod">
        <pc:chgData name="Tường SKHĐT" userId="ab9568c39a88b08a" providerId="LiveId" clId="{805CF0FB-80C6-433A-A325-AD1474DF2833}" dt="2023-03-09T02:00:29.765" v="3596" actId="14100"/>
        <pc:sldMkLst>
          <pc:docMk/>
          <pc:sldMk cId="1786243308" sldId="2147473545"/>
        </pc:sldMkLst>
        <pc:spChg chg="mod">
          <ac:chgData name="Tường SKHĐT" userId="ab9568c39a88b08a" providerId="LiveId" clId="{805CF0FB-80C6-433A-A325-AD1474DF2833}" dt="2023-03-09T02:00:26.908" v="3595"/>
          <ac:spMkLst>
            <pc:docMk/>
            <pc:sldMk cId="1786243308" sldId="2147473545"/>
            <ac:spMk id="4" creationId="{16D24723-A233-03FF-2329-1817AB93339D}"/>
          </ac:spMkLst>
        </pc:spChg>
        <pc:cxnChg chg="mod">
          <ac:chgData name="Tường SKHĐT" userId="ab9568c39a88b08a" providerId="LiveId" clId="{805CF0FB-80C6-433A-A325-AD1474DF2833}" dt="2023-03-09T02:00:29.765" v="3596" actId="14100"/>
          <ac:cxnSpMkLst>
            <pc:docMk/>
            <pc:sldMk cId="1786243308" sldId="2147473545"/>
            <ac:cxnSpMk id="6" creationId="{FF705920-E1B4-B4D0-9EA4-A27AA5761577}"/>
          </ac:cxnSpMkLst>
        </pc:cxnChg>
      </pc:sldChg>
      <pc:sldChg chg="addSp modSp mod">
        <pc:chgData name="Tường SKHĐT" userId="ab9568c39a88b08a" providerId="LiveId" clId="{805CF0FB-80C6-433A-A325-AD1474DF2833}" dt="2023-03-09T02:00:36.609" v="3598" actId="14100"/>
        <pc:sldMkLst>
          <pc:docMk/>
          <pc:sldMk cId="1899568227" sldId="2147473546"/>
        </pc:sldMkLst>
        <pc:spChg chg="mod">
          <ac:chgData name="Tường SKHĐT" userId="ab9568c39a88b08a" providerId="LiveId" clId="{805CF0FB-80C6-433A-A325-AD1474DF2833}" dt="2023-03-09T02:00:33.981" v="3597"/>
          <ac:spMkLst>
            <pc:docMk/>
            <pc:sldMk cId="1899568227" sldId="2147473546"/>
            <ac:spMk id="4" creationId="{16D24723-A233-03FF-2329-1817AB93339D}"/>
          </ac:spMkLst>
        </pc:spChg>
        <pc:spChg chg="mod">
          <ac:chgData name="Tường SKHĐT" userId="ab9568c39a88b08a" providerId="LiveId" clId="{805CF0FB-80C6-433A-A325-AD1474DF2833}" dt="2023-03-08T01:54:56.882" v="670" actId="20577"/>
          <ac:spMkLst>
            <pc:docMk/>
            <pc:sldMk cId="1899568227" sldId="2147473546"/>
            <ac:spMk id="25" creationId="{01DC26C3-E6F4-C27A-8624-3A65D81B6008}"/>
          </ac:spMkLst>
        </pc:spChg>
        <pc:graphicFrameChg chg="add mod">
          <ac:chgData name="Tường SKHĐT" userId="ab9568c39a88b08a" providerId="LiveId" clId="{805CF0FB-80C6-433A-A325-AD1474DF2833}" dt="2023-03-08T04:04:05.283" v="961" actId="404"/>
          <ac:graphicFrameMkLst>
            <pc:docMk/>
            <pc:sldMk cId="1899568227" sldId="2147473546"/>
            <ac:graphicFrameMk id="2" creationId="{A08EB5F7-D899-7227-810E-9D2967DF9F96}"/>
          </ac:graphicFrameMkLst>
        </pc:graphicFrameChg>
        <pc:graphicFrameChg chg="mod modGraphic">
          <ac:chgData name="Tường SKHĐT" userId="ab9568c39a88b08a" providerId="LiveId" clId="{805CF0FB-80C6-433A-A325-AD1474DF2833}" dt="2023-03-08T04:03:53.719" v="960" actId="12"/>
          <ac:graphicFrameMkLst>
            <pc:docMk/>
            <pc:sldMk cId="1899568227" sldId="2147473546"/>
            <ac:graphicFrameMk id="8" creationId="{B5E5335D-2EED-82AF-3A59-FAE8BB94EAE1}"/>
          </ac:graphicFrameMkLst>
        </pc:graphicFrameChg>
        <pc:cxnChg chg="mod">
          <ac:chgData name="Tường SKHĐT" userId="ab9568c39a88b08a" providerId="LiveId" clId="{805CF0FB-80C6-433A-A325-AD1474DF2833}" dt="2023-03-09T02:00:36.609" v="3598" actId="14100"/>
          <ac:cxnSpMkLst>
            <pc:docMk/>
            <pc:sldMk cId="1899568227" sldId="2147473546"/>
            <ac:cxnSpMk id="6" creationId="{FF705920-E1B4-B4D0-9EA4-A27AA5761577}"/>
          </ac:cxnSpMkLst>
        </pc:cxnChg>
      </pc:sldChg>
      <pc:sldChg chg="modSp mod">
        <pc:chgData name="Tường SKHĐT" userId="ab9568c39a88b08a" providerId="LiveId" clId="{805CF0FB-80C6-433A-A325-AD1474DF2833}" dt="2023-03-09T01:58:25.425" v="3515" actId="20577"/>
        <pc:sldMkLst>
          <pc:docMk/>
          <pc:sldMk cId="3035689650" sldId="2147473547"/>
        </pc:sldMkLst>
        <pc:spChg chg="mod">
          <ac:chgData name="Tường SKHĐT" userId="ab9568c39a88b08a" providerId="LiveId" clId="{805CF0FB-80C6-433A-A325-AD1474DF2833}" dt="2023-03-09T01:58:25.425" v="3515" actId="20577"/>
          <ac:spMkLst>
            <pc:docMk/>
            <pc:sldMk cId="3035689650" sldId="2147473547"/>
            <ac:spMk id="4" creationId="{00000000-0000-0000-0000-000000000000}"/>
          </ac:spMkLst>
        </pc:spChg>
      </pc:sldChg>
      <pc:sldChg chg="add del">
        <pc:chgData name="Tường SKHĐT" userId="ab9568c39a88b08a" providerId="LiveId" clId="{805CF0FB-80C6-433A-A325-AD1474DF2833}" dt="2023-03-08T04:18:21.189" v="1195" actId="2696"/>
        <pc:sldMkLst>
          <pc:docMk/>
          <pc:sldMk cId="1547433331" sldId="2147473548"/>
        </pc:sldMkLst>
      </pc:sldChg>
      <pc:sldChg chg="addSp delSp modSp mod">
        <pc:chgData name="Tường SKHĐT" userId="ab9568c39a88b08a" providerId="LiveId" clId="{805CF0FB-80C6-433A-A325-AD1474DF2833}" dt="2023-03-09T01:59:23.861" v="3578" actId="14100"/>
        <pc:sldMkLst>
          <pc:docMk/>
          <pc:sldMk cId="537512070" sldId="2147473549"/>
        </pc:sldMkLst>
        <pc:spChg chg="mod">
          <ac:chgData name="Tường SKHĐT" userId="ab9568c39a88b08a" providerId="LiveId" clId="{805CF0FB-80C6-433A-A325-AD1474DF2833}" dt="2023-03-09T01:59:20.352" v="3577"/>
          <ac:spMkLst>
            <pc:docMk/>
            <pc:sldMk cId="537512070" sldId="2147473549"/>
            <ac:spMk id="4" creationId="{16D24723-A233-03FF-2329-1817AB93339D}"/>
          </ac:spMkLst>
        </pc:spChg>
        <pc:graphicFrameChg chg="add mod modGraphic">
          <ac:chgData name="Tường SKHĐT" userId="ab9568c39a88b08a" providerId="LiveId" clId="{805CF0FB-80C6-433A-A325-AD1474DF2833}" dt="2023-03-08T08:29:18.690" v="2831" actId="14100"/>
          <ac:graphicFrameMkLst>
            <pc:docMk/>
            <pc:sldMk cId="537512070" sldId="2147473549"/>
            <ac:graphicFrameMk id="2" creationId="{18E06811-42F8-437B-CF82-5FBE237A0396}"/>
          </ac:graphicFrameMkLst>
        </pc:graphicFrameChg>
        <pc:graphicFrameChg chg="del">
          <ac:chgData name="Tường SKHĐT" userId="ab9568c39a88b08a" providerId="LiveId" clId="{805CF0FB-80C6-433A-A325-AD1474DF2833}" dt="2023-03-08T08:28:43.186" v="2824" actId="21"/>
          <ac:graphicFrameMkLst>
            <pc:docMk/>
            <pc:sldMk cId="537512070" sldId="2147473549"/>
            <ac:graphicFrameMk id="5" creationId="{17F76530-0BF0-6EDB-D1AD-D43D00263199}"/>
          </ac:graphicFrameMkLst>
        </pc:graphicFrameChg>
        <pc:cxnChg chg="mod">
          <ac:chgData name="Tường SKHĐT" userId="ab9568c39a88b08a" providerId="LiveId" clId="{805CF0FB-80C6-433A-A325-AD1474DF2833}" dt="2023-03-09T01:59:23.861" v="3578" actId="14100"/>
          <ac:cxnSpMkLst>
            <pc:docMk/>
            <pc:sldMk cId="537512070" sldId="2147473549"/>
            <ac:cxnSpMk id="6" creationId="{FF705920-E1B4-B4D0-9EA4-A27AA5761577}"/>
          </ac:cxnSpMkLst>
        </pc:cxnChg>
      </pc:sldChg>
      <pc:sldChg chg="del">
        <pc:chgData name="Tường SKHĐT" userId="ab9568c39a88b08a" providerId="LiveId" clId="{805CF0FB-80C6-433A-A325-AD1474DF2833}" dt="2023-03-08T09:26:48.864" v="2985" actId="2696"/>
        <pc:sldMkLst>
          <pc:docMk/>
          <pc:sldMk cId="3002944224" sldId="2147473550"/>
        </pc:sldMkLst>
      </pc:sldChg>
      <pc:sldChg chg="addSp delSp modSp mod">
        <pc:chgData name="Tường SKHĐT" userId="ab9568c39a88b08a" providerId="LiveId" clId="{805CF0FB-80C6-433A-A325-AD1474DF2833}" dt="2023-03-08T03:41:34.365" v="941" actId="14100"/>
        <pc:sldMkLst>
          <pc:docMk/>
          <pc:sldMk cId="3036134749" sldId="2147473551"/>
        </pc:sldMkLst>
        <pc:graphicFrameChg chg="add del mod modGraphic">
          <ac:chgData name="Tường SKHĐT" userId="ab9568c39a88b08a" providerId="LiveId" clId="{805CF0FB-80C6-433A-A325-AD1474DF2833}" dt="2023-03-08T03:40:53.354" v="935" actId="21"/>
          <ac:graphicFrameMkLst>
            <pc:docMk/>
            <pc:sldMk cId="3036134749" sldId="2147473551"/>
            <ac:graphicFrameMk id="4" creationId="{2C06C534-32B9-453A-F945-5D9F26469115}"/>
          </ac:graphicFrameMkLst>
        </pc:graphicFrameChg>
        <pc:picChg chg="add del mod">
          <ac:chgData name="Tường SKHĐT" userId="ab9568c39a88b08a" providerId="LiveId" clId="{805CF0FB-80C6-433A-A325-AD1474DF2833}" dt="2023-03-08T03:39:02.369" v="911" actId="21"/>
          <ac:picMkLst>
            <pc:docMk/>
            <pc:sldMk cId="3036134749" sldId="2147473551"/>
            <ac:picMk id="2" creationId="{3287FD68-7766-26CA-684B-B9C3FFFD546C}"/>
          </ac:picMkLst>
        </pc:picChg>
        <pc:picChg chg="add del mod">
          <ac:chgData name="Tường SKHĐT" userId="ab9568c39a88b08a" providerId="LiveId" clId="{805CF0FB-80C6-433A-A325-AD1474DF2833}" dt="2023-03-08T03:39:09.794" v="913" actId="21"/>
          <ac:picMkLst>
            <pc:docMk/>
            <pc:sldMk cId="3036134749" sldId="2147473551"/>
            <ac:picMk id="3" creationId="{2BFD5858-DA19-2E38-719C-9B29B25416EB}"/>
          </ac:picMkLst>
        </pc:picChg>
        <pc:picChg chg="del">
          <ac:chgData name="Tường SKHĐT" userId="ab9568c39a88b08a" providerId="LiveId" clId="{805CF0FB-80C6-433A-A325-AD1474DF2833}" dt="2023-03-08T03:38:52.904" v="909" actId="21"/>
          <ac:picMkLst>
            <pc:docMk/>
            <pc:sldMk cId="3036134749" sldId="2147473551"/>
            <ac:picMk id="6" creationId="{1361ED7E-B35F-9192-50D0-B37264EF7016}"/>
          </ac:picMkLst>
        </pc:picChg>
        <pc:picChg chg="add mod">
          <ac:chgData name="Tường SKHĐT" userId="ab9568c39a88b08a" providerId="LiveId" clId="{805CF0FB-80C6-433A-A325-AD1474DF2833}" dt="2023-03-08T03:41:34.365" v="941" actId="14100"/>
          <ac:picMkLst>
            <pc:docMk/>
            <pc:sldMk cId="3036134749" sldId="2147473551"/>
            <ac:picMk id="10" creationId="{5D8CD86A-3AD6-5D82-7994-52B1EE234CC8}"/>
          </ac:picMkLst>
        </pc:picChg>
      </pc:sldChg>
      <pc:sldChg chg="addSp delSp modSp add mod">
        <pc:chgData name="Tường SKHĐT" userId="ab9568c39a88b08a" providerId="LiveId" clId="{805CF0FB-80C6-433A-A325-AD1474DF2833}" dt="2023-03-09T01:59:55.657" v="3588" actId="14100"/>
        <pc:sldMkLst>
          <pc:docMk/>
          <pc:sldMk cId="580705254" sldId="2147473552"/>
        </pc:sldMkLst>
        <pc:spChg chg="mod">
          <ac:chgData name="Tường SKHĐT" userId="ab9568c39a88b08a" providerId="LiveId" clId="{805CF0FB-80C6-433A-A325-AD1474DF2833}" dt="2023-03-09T01:59:51.513" v="3587"/>
          <ac:spMkLst>
            <pc:docMk/>
            <pc:sldMk cId="580705254" sldId="2147473552"/>
            <ac:spMk id="4" creationId="{16D24723-A233-03FF-2329-1817AB93339D}"/>
          </ac:spMkLst>
        </pc:spChg>
        <pc:graphicFrameChg chg="mod modGraphic">
          <ac:chgData name="Tường SKHĐT" userId="ab9568c39a88b08a" providerId="LiveId" clId="{805CF0FB-80C6-433A-A325-AD1474DF2833}" dt="2023-03-08T01:28:21.842" v="393" actId="20577"/>
          <ac:graphicFrameMkLst>
            <pc:docMk/>
            <pc:sldMk cId="580705254" sldId="2147473552"/>
            <ac:graphicFrameMk id="8" creationId="{B5E5335D-2EED-82AF-3A59-FAE8BB94EAE1}"/>
          </ac:graphicFrameMkLst>
        </pc:graphicFrameChg>
        <pc:graphicFrameChg chg="del">
          <ac:chgData name="Tường SKHĐT" userId="ab9568c39a88b08a" providerId="LiveId" clId="{805CF0FB-80C6-433A-A325-AD1474DF2833}" dt="2023-03-08T01:24:21.676" v="19" actId="21"/>
          <ac:graphicFrameMkLst>
            <pc:docMk/>
            <pc:sldMk cId="580705254" sldId="2147473552"/>
            <ac:graphicFrameMk id="12" creationId="{109A2457-F4BA-9DA8-51CF-3493BDD4EE8F}"/>
          </ac:graphicFrameMkLst>
        </pc:graphicFrameChg>
        <pc:picChg chg="add mod">
          <ac:chgData name="Tường SKHĐT" userId="ab9568c39a88b08a" providerId="LiveId" clId="{805CF0FB-80C6-433A-A325-AD1474DF2833}" dt="2023-03-08T01:25:25.986" v="40" actId="1076"/>
          <ac:picMkLst>
            <pc:docMk/>
            <pc:sldMk cId="580705254" sldId="2147473552"/>
            <ac:picMk id="3" creationId="{9AF740F2-8657-5D2B-1E99-EF2B0034363B}"/>
          </ac:picMkLst>
        </pc:picChg>
        <pc:picChg chg="add mod">
          <ac:chgData name="Tường SKHĐT" userId="ab9568c39a88b08a" providerId="LiveId" clId="{805CF0FB-80C6-433A-A325-AD1474DF2833}" dt="2023-03-08T01:25:24.392" v="39" actId="14100"/>
          <ac:picMkLst>
            <pc:docMk/>
            <pc:sldMk cId="580705254" sldId="2147473552"/>
            <ac:picMk id="7" creationId="{5CDE7AB5-FCC7-E08F-A14A-12072FF36A97}"/>
          </ac:picMkLst>
        </pc:picChg>
        <pc:picChg chg="del">
          <ac:chgData name="Tường SKHĐT" userId="ab9568c39a88b08a" providerId="LiveId" clId="{805CF0FB-80C6-433A-A325-AD1474DF2833}" dt="2023-03-08T01:24:24.082" v="20" actId="21"/>
          <ac:picMkLst>
            <pc:docMk/>
            <pc:sldMk cId="580705254" sldId="2147473552"/>
            <ac:picMk id="10" creationId="{98D5E116-9007-7C05-526C-FE5AD4674A8B}"/>
          </ac:picMkLst>
        </pc:picChg>
        <pc:cxnChg chg="mod">
          <ac:chgData name="Tường SKHĐT" userId="ab9568c39a88b08a" providerId="LiveId" clId="{805CF0FB-80C6-433A-A325-AD1474DF2833}" dt="2023-03-09T01:59:55.657" v="3588" actId="14100"/>
          <ac:cxnSpMkLst>
            <pc:docMk/>
            <pc:sldMk cId="580705254" sldId="2147473552"/>
            <ac:cxnSpMk id="6" creationId="{FF705920-E1B4-B4D0-9EA4-A27AA5761577}"/>
          </ac:cxnSpMkLst>
        </pc:cxnChg>
      </pc:sldChg>
      <pc:sldChg chg="addSp delSp modSp add mod">
        <pc:chgData name="Tường SKHĐT" userId="ab9568c39a88b08a" providerId="LiveId" clId="{805CF0FB-80C6-433A-A325-AD1474DF2833}" dt="2023-03-09T02:00:49.945" v="3602" actId="14100"/>
        <pc:sldMkLst>
          <pc:docMk/>
          <pc:sldMk cId="2489976923" sldId="2147473553"/>
        </pc:sldMkLst>
        <pc:spChg chg="mod">
          <ac:chgData name="Tường SKHĐT" userId="ab9568c39a88b08a" providerId="LiveId" clId="{805CF0FB-80C6-433A-A325-AD1474DF2833}" dt="2023-03-09T02:00:47.273" v="3601"/>
          <ac:spMkLst>
            <pc:docMk/>
            <pc:sldMk cId="2489976923" sldId="2147473553"/>
            <ac:spMk id="4" creationId="{16D24723-A233-03FF-2329-1817AB93339D}"/>
          </ac:spMkLst>
        </pc:spChg>
        <pc:graphicFrameChg chg="add mod">
          <ac:chgData name="Tường SKHĐT" userId="ab9568c39a88b08a" providerId="LiveId" clId="{805CF0FB-80C6-433A-A325-AD1474DF2833}" dt="2023-03-08T04:11:17.992" v="968" actId="14100"/>
          <ac:graphicFrameMkLst>
            <pc:docMk/>
            <pc:sldMk cId="2489976923" sldId="2147473553"/>
            <ac:graphicFrameMk id="2" creationId="{44F4FA72-D1AA-8B5C-D4E7-8DDB88D8BEF9}"/>
          </ac:graphicFrameMkLst>
        </pc:graphicFrameChg>
        <pc:graphicFrameChg chg="add mod modGraphic">
          <ac:chgData name="Tường SKHĐT" userId="ab9568c39a88b08a" providerId="LiveId" clId="{805CF0FB-80C6-433A-A325-AD1474DF2833}" dt="2023-03-08T04:12:21.843" v="986" actId="122"/>
          <ac:graphicFrameMkLst>
            <pc:docMk/>
            <pc:sldMk cId="2489976923" sldId="2147473553"/>
            <ac:graphicFrameMk id="3" creationId="{67E6D109-73B6-7059-3D35-0E818FF96EB8}"/>
          </ac:graphicFrameMkLst>
        </pc:graphicFrameChg>
        <pc:graphicFrameChg chg="del">
          <ac:chgData name="Tường SKHĐT" userId="ab9568c39a88b08a" providerId="LiveId" clId="{805CF0FB-80C6-433A-A325-AD1474DF2833}" dt="2023-03-08T04:05:14.673" v="963" actId="21"/>
          <ac:graphicFrameMkLst>
            <pc:docMk/>
            <pc:sldMk cId="2489976923" sldId="2147473553"/>
            <ac:graphicFrameMk id="5" creationId="{6FEF8E8F-912E-AFD3-F733-73DBAFEA3824}"/>
          </ac:graphicFrameMkLst>
        </pc:graphicFrameChg>
        <pc:graphicFrameChg chg="del">
          <ac:chgData name="Tường SKHĐT" userId="ab9568c39a88b08a" providerId="LiveId" clId="{805CF0FB-80C6-433A-A325-AD1474DF2833}" dt="2023-03-08T04:05:17.150" v="964" actId="21"/>
          <ac:graphicFrameMkLst>
            <pc:docMk/>
            <pc:sldMk cId="2489976923" sldId="2147473553"/>
            <ac:graphicFrameMk id="7" creationId="{DE684BB8-737C-326F-CC34-B8AF674B74F8}"/>
          </ac:graphicFrameMkLst>
        </pc:graphicFrameChg>
        <pc:cxnChg chg="mod">
          <ac:chgData name="Tường SKHĐT" userId="ab9568c39a88b08a" providerId="LiveId" clId="{805CF0FB-80C6-433A-A325-AD1474DF2833}" dt="2023-03-09T02:00:49.945" v="3602" actId="14100"/>
          <ac:cxnSpMkLst>
            <pc:docMk/>
            <pc:sldMk cId="2489976923" sldId="2147473553"/>
            <ac:cxnSpMk id="6" creationId="{FF705920-E1B4-B4D0-9EA4-A27AA5761577}"/>
          </ac:cxnSpMkLst>
        </pc:cxnChg>
      </pc:sldChg>
      <pc:sldChg chg="new del">
        <pc:chgData name="Tường SKHĐT" userId="ab9568c39a88b08a" providerId="LiveId" clId="{805CF0FB-80C6-433A-A325-AD1474DF2833}" dt="2023-03-08T01:49:35.643" v="587" actId="2696"/>
        <pc:sldMkLst>
          <pc:docMk/>
          <pc:sldMk cId="4220627317" sldId="2147473553"/>
        </pc:sldMkLst>
      </pc:sldChg>
      <pc:sldChg chg="addSp modSp add mod">
        <pc:chgData name="Tường SKHĐT" userId="ab9568c39a88b08a" providerId="LiveId" clId="{805CF0FB-80C6-433A-A325-AD1474DF2833}" dt="2023-03-09T02:59:12.950" v="3935" actId="20577"/>
        <pc:sldMkLst>
          <pc:docMk/>
          <pc:sldMk cId="1030866050" sldId="2147473554"/>
        </pc:sldMkLst>
        <pc:spChg chg="mod">
          <ac:chgData name="Tường SKHĐT" userId="ab9568c39a88b08a" providerId="LiveId" clId="{805CF0FB-80C6-433A-A325-AD1474DF2833}" dt="2023-03-09T02:59:12.950" v="3935" actId="20577"/>
          <ac:spMkLst>
            <pc:docMk/>
            <pc:sldMk cId="1030866050" sldId="2147473554"/>
            <ac:spMk id="4" creationId="{00000000-0000-0000-0000-000000000000}"/>
          </ac:spMkLst>
        </pc:spChg>
        <pc:graphicFrameChg chg="mod modGraphic">
          <ac:chgData name="Tường SKHĐT" userId="ab9568c39a88b08a" providerId="LiveId" clId="{805CF0FB-80C6-433A-A325-AD1474DF2833}" dt="2023-03-09T02:58:50.833" v="3915" actId="1076"/>
          <ac:graphicFrameMkLst>
            <pc:docMk/>
            <pc:sldMk cId="1030866050" sldId="2147473554"/>
            <ac:graphicFrameMk id="2" creationId="{FBFFDBCD-49A2-B604-F9E9-B81E95DF4EB5}"/>
          </ac:graphicFrameMkLst>
        </pc:graphicFrameChg>
        <pc:graphicFrameChg chg="add mod modGraphic">
          <ac:chgData name="Tường SKHĐT" userId="ab9568c39a88b08a" providerId="LiveId" clId="{805CF0FB-80C6-433A-A325-AD1474DF2833}" dt="2023-03-09T02:57:49.720" v="3821" actId="207"/>
          <ac:graphicFrameMkLst>
            <pc:docMk/>
            <pc:sldMk cId="1030866050" sldId="2147473554"/>
            <ac:graphicFrameMk id="3" creationId="{2E3E3DAE-54B2-6742-190A-ED1AAD7C7C60}"/>
          </ac:graphicFrameMkLst>
        </pc:graphicFrameChg>
      </pc:sldChg>
      <pc:sldChg chg="addSp modSp add mod">
        <pc:chgData name="Tường SKHĐT" userId="ab9568c39a88b08a" providerId="LiveId" clId="{805CF0FB-80C6-433A-A325-AD1474DF2833}" dt="2023-03-09T03:15:59.680" v="4069" actId="20577"/>
        <pc:sldMkLst>
          <pc:docMk/>
          <pc:sldMk cId="2731780743" sldId="2147473555"/>
        </pc:sldMkLst>
        <pc:graphicFrameChg chg="mod modGraphic">
          <ac:chgData name="Tường SKHĐT" userId="ab9568c39a88b08a" providerId="LiveId" clId="{805CF0FB-80C6-433A-A325-AD1474DF2833}" dt="2023-03-09T03:15:59.680" v="4069" actId="20577"/>
          <ac:graphicFrameMkLst>
            <pc:docMk/>
            <pc:sldMk cId="2731780743" sldId="2147473555"/>
            <ac:graphicFrameMk id="2" creationId="{FBFFDBCD-49A2-B604-F9E9-B81E95DF4EB5}"/>
          </ac:graphicFrameMkLst>
        </pc:graphicFrameChg>
        <pc:graphicFrameChg chg="add mod modGraphic">
          <ac:chgData name="Tường SKHĐT" userId="ab9568c39a88b08a" providerId="LiveId" clId="{805CF0FB-80C6-433A-A325-AD1474DF2833}" dt="2023-03-09T03:15:48.527" v="4066" actId="14100"/>
          <ac:graphicFrameMkLst>
            <pc:docMk/>
            <pc:sldMk cId="2731780743" sldId="2147473555"/>
            <ac:graphicFrameMk id="3" creationId="{46BC0D04-5C78-8ECD-463E-08080CB32353}"/>
          </ac:graphicFrameMkLst>
        </pc:graphicFrameChg>
      </pc:sldChg>
      <pc:sldChg chg="addSp modSp add mod">
        <pc:chgData name="Tường SKHĐT" userId="ab9568c39a88b08a" providerId="LiveId" clId="{805CF0FB-80C6-433A-A325-AD1474DF2833}" dt="2023-03-09T03:33:07.649" v="4201" actId="20577"/>
        <pc:sldMkLst>
          <pc:docMk/>
          <pc:sldMk cId="3432425557" sldId="2147473556"/>
        </pc:sldMkLst>
        <pc:spChg chg="mod">
          <ac:chgData name="Tường SKHĐT" userId="ab9568c39a88b08a" providerId="LiveId" clId="{805CF0FB-80C6-433A-A325-AD1474DF2833}" dt="2023-03-08T04:32:55.461" v="2015" actId="1076"/>
          <ac:spMkLst>
            <pc:docMk/>
            <pc:sldMk cId="3432425557" sldId="2147473556"/>
            <ac:spMk id="4" creationId="{00000000-0000-0000-0000-000000000000}"/>
          </ac:spMkLst>
        </pc:spChg>
        <pc:graphicFrameChg chg="mod modGraphic">
          <ac:chgData name="Tường SKHĐT" userId="ab9568c39a88b08a" providerId="LiveId" clId="{805CF0FB-80C6-433A-A325-AD1474DF2833}" dt="2023-03-09T03:33:07.649" v="4201" actId="20577"/>
          <ac:graphicFrameMkLst>
            <pc:docMk/>
            <pc:sldMk cId="3432425557" sldId="2147473556"/>
            <ac:graphicFrameMk id="2" creationId="{FBFFDBCD-49A2-B604-F9E9-B81E95DF4EB5}"/>
          </ac:graphicFrameMkLst>
        </pc:graphicFrameChg>
        <pc:graphicFrameChg chg="add mod modGraphic">
          <ac:chgData name="Tường SKHĐT" userId="ab9568c39a88b08a" providerId="LiveId" clId="{805CF0FB-80C6-433A-A325-AD1474DF2833}" dt="2023-03-09T03:32:40.644" v="4099" actId="207"/>
          <ac:graphicFrameMkLst>
            <pc:docMk/>
            <pc:sldMk cId="3432425557" sldId="2147473556"/>
            <ac:graphicFrameMk id="3" creationId="{78B08A87-F063-9867-FE22-D971CE6BDB49}"/>
          </ac:graphicFrameMkLst>
        </pc:graphicFrameChg>
      </pc:sldChg>
      <pc:sldChg chg="addSp modSp add mod">
        <pc:chgData name="Tường SKHĐT" userId="ab9568c39a88b08a" providerId="LiveId" clId="{805CF0FB-80C6-433A-A325-AD1474DF2833}" dt="2023-03-09T03:47:25.277" v="4248" actId="1076"/>
        <pc:sldMkLst>
          <pc:docMk/>
          <pc:sldMk cId="3575124141" sldId="2147473557"/>
        </pc:sldMkLst>
        <pc:spChg chg="mod">
          <ac:chgData name="Tường SKHĐT" userId="ab9568c39a88b08a" providerId="LiveId" clId="{805CF0FB-80C6-433A-A325-AD1474DF2833}" dt="2023-03-09T03:47:25.277" v="4248" actId="1076"/>
          <ac:spMkLst>
            <pc:docMk/>
            <pc:sldMk cId="3575124141" sldId="2147473557"/>
            <ac:spMk id="4" creationId="{00000000-0000-0000-0000-000000000000}"/>
          </ac:spMkLst>
        </pc:spChg>
        <pc:graphicFrameChg chg="mod modGraphic">
          <ac:chgData name="Tường SKHĐT" userId="ab9568c39a88b08a" providerId="LiveId" clId="{805CF0FB-80C6-433A-A325-AD1474DF2833}" dt="2023-03-09T03:47:16.602" v="4246" actId="14100"/>
          <ac:graphicFrameMkLst>
            <pc:docMk/>
            <pc:sldMk cId="3575124141" sldId="2147473557"/>
            <ac:graphicFrameMk id="2" creationId="{FBFFDBCD-49A2-B604-F9E9-B81E95DF4EB5}"/>
          </ac:graphicFrameMkLst>
        </pc:graphicFrameChg>
        <pc:graphicFrameChg chg="add mod modGraphic">
          <ac:chgData name="Tường SKHĐT" userId="ab9568c39a88b08a" providerId="LiveId" clId="{805CF0FB-80C6-433A-A325-AD1474DF2833}" dt="2023-03-09T03:47:22.506" v="4247" actId="1076"/>
          <ac:graphicFrameMkLst>
            <pc:docMk/>
            <pc:sldMk cId="3575124141" sldId="2147473557"/>
            <ac:graphicFrameMk id="3" creationId="{08E30D19-EDEA-C759-9BF4-50757C20F971}"/>
          </ac:graphicFrameMkLst>
        </pc:graphicFrameChg>
      </pc:sldChg>
      <pc:sldChg chg="modSp add del mod">
        <pc:chgData name="Tường SKHĐT" userId="ab9568c39a88b08a" providerId="LiveId" clId="{805CF0FB-80C6-433A-A325-AD1474DF2833}" dt="2023-03-08T04:39:05.965" v="2523" actId="2696"/>
        <pc:sldMkLst>
          <pc:docMk/>
          <pc:sldMk cId="657080585" sldId="2147473558"/>
        </pc:sldMkLst>
        <pc:graphicFrameChg chg="mod modGraphic">
          <ac:chgData name="Tường SKHĐT" userId="ab9568c39a88b08a" providerId="LiveId" clId="{805CF0FB-80C6-433A-A325-AD1474DF2833}" dt="2023-03-08T04:38:28.451" v="2516" actId="20577"/>
          <ac:graphicFrameMkLst>
            <pc:docMk/>
            <pc:sldMk cId="657080585" sldId="2147473558"/>
            <ac:graphicFrameMk id="2" creationId="{FBFFDBCD-49A2-B604-F9E9-B81E95DF4EB5}"/>
          </ac:graphicFrameMkLst>
        </pc:graphicFrameChg>
      </pc:sldChg>
      <pc:sldChg chg="addSp delSp modSp add mod">
        <pc:chgData name="Tường SKHĐT" userId="ab9568c39a88b08a" providerId="LiveId" clId="{805CF0FB-80C6-433A-A325-AD1474DF2833}" dt="2023-03-09T09:29:55.433" v="5617" actId="1076"/>
        <pc:sldMkLst>
          <pc:docMk/>
          <pc:sldMk cId="662834304" sldId="2147473559"/>
        </pc:sldMkLst>
        <pc:spChg chg="mod">
          <ac:chgData name="Tường SKHĐT" userId="ab9568c39a88b08a" providerId="LiveId" clId="{805CF0FB-80C6-433A-A325-AD1474DF2833}" dt="2023-03-08T04:43:05.086" v="2787" actId="1076"/>
          <ac:spMkLst>
            <pc:docMk/>
            <pc:sldMk cId="662834304" sldId="2147473559"/>
            <ac:spMk id="4" creationId="{00000000-0000-0000-0000-000000000000}"/>
          </ac:spMkLst>
        </pc:spChg>
        <pc:spChg chg="add del mod">
          <ac:chgData name="Tường SKHĐT" userId="ab9568c39a88b08a" providerId="LiveId" clId="{805CF0FB-80C6-433A-A325-AD1474DF2833}" dt="2023-03-09T09:00:08.098" v="4938" actId="21"/>
          <ac:spMkLst>
            <pc:docMk/>
            <pc:sldMk cId="662834304" sldId="2147473559"/>
            <ac:spMk id="5" creationId="{6732C373-2718-FE5C-C82E-75183F0634A0}"/>
          </ac:spMkLst>
        </pc:spChg>
        <pc:graphicFrameChg chg="del">
          <ac:chgData name="Tường SKHĐT" userId="ab9568c39a88b08a" providerId="LiveId" clId="{805CF0FB-80C6-433A-A325-AD1474DF2833}" dt="2023-03-08T04:36:14.798" v="2407" actId="21"/>
          <ac:graphicFrameMkLst>
            <pc:docMk/>
            <pc:sldMk cId="662834304" sldId="2147473559"/>
            <ac:graphicFrameMk id="2" creationId="{FBFFDBCD-49A2-B604-F9E9-B81E95DF4EB5}"/>
          </ac:graphicFrameMkLst>
        </pc:graphicFrameChg>
        <pc:graphicFrameChg chg="add mod modGraphic">
          <ac:chgData name="Tường SKHĐT" userId="ab9568c39a88b08a" providerId="LiveId" clId="{805CF0FB-80C6-433A-A325-AD1474DF2833}" dt="2023-03-09T09:29:55.433" v="5617" actId="1076"/>
          <ac:graphicFrameMkLst>
            <pc:docMk/>
            <pc:sldMk cId="662834304" sldId="2147473559"/>
            <ac:graphicFrameMk id="3" creationId="{6BBA59B9-D9F6-DED0-B603-5DCA6F827834}"/>
          </ac:graphicFrameMkLst>
        </pc:graphicFrameChg>
      </pc:sldChg>
      <pc:sldChg chg="addSp modSp add mod">
        <pc:chgData name="Tường SKHĐT" userId="ab9568c39a88b08a" providerId="LiveId" clId="{805CF0FB-80C6-433A-A325-AD1474DF2833}" dt="2023-03-09T03:56:09.838" v="4297" actId="14100"/>
        <pc:sldMkLst>
          <pc:docMk/>
          <pc:sldMk cId="1557921189" sldId="2147473560"/>
        </pc:sldMkLst>
        <pc:graphicFrameChg chg="mod modGraphic">
          <ac:chgData name="Tường SKHĐT" userId="ab9568c39a88b08a" providerId="LiveId" clId="{805CF0FB-80C6-433A-A325-AD1474DF2833}" dt="2023-03-09T03:56:05.992" v="4296" actId="20577"/>
          <ac:graphicFrameMkLst>
            <pc:docMk/>
            <pc:sldMk cId="1557921189" sldId="2147473560"/>
            <ac:graphicFrameMk id="2" creationId="{FBFFDBCD-49A2-B604-F9E9-B81E95DF4EB5}"/>
          </ac:graphicFrameMkLst>
        </pc:graphicFrameChg>
        <pc:graphicFrameChg chg="add mod modGraphic">
          <ac:chgData name="Tường SKHĐT" userId="ab9568c39a88b08a" providerId="LiveId" clId="{805CF0FB-80C6-433A-A325-AD1474DF2833}" dt="2023-03-09T03:56:09.838" v="4297" actId="14100"/>
          <ac:graphicFrameMkLst>
            <pc:docMk/>
            <pc:sldMk cId="1557921189" sldId="2147473560"/>
            <ac:graphicFrameMk id="3" creationId="{88BF0CC1-E314-5CE1-FFDA-46134B913C04}"/>
          </ac:graphicFrameMkLst>
        </pc:graphicFrameChg>
      </pc:sldChg>
      <pc:sldChg chg="addSp modSp add mod">
        <pc:chgData name="Tường SKHĐT" userId="ab9568c39a88b08a" providerId="LiveId" clId="{805CF0FB-80C6-433A-A325-AD1474DF2833}" dt="2023-03-09T10:09:40.075" v="5658" actId="20577"/>
        <pc:sldMkLst>
          <pc:docMk/>
          <pc:sldMk cId="3875002478" sldId="2147473561"/>
        </pc:sldMkLst>
        <pc:graphicFrameChg chg="mod modGraphic">
          <ac:chgData name="Tường SKHĐT" userId="ab9568c39a88b08a" providerId="LiveId" clId="{805CF0FB-80C6-433A-A325-AD1474DF2833}" dt="2023-03-09T10:09:40.075" v="5658" actId="20577"/>
          <ac:graphicFrameMkLst>
            <pc:docMk/>
            <pc:sldMk cId="3875002478" sldId="2147473561"/>
            <ac:graphicFrameMk id="2" creationId="{FBFFDBCD-49A2-B604-F9E9-B81E95DF4EB5}"/>
          </ac:graphicFrameMkLst>
        </pc:graphicFrameChg>
        <pc:graphicFrameChg chg="add mod modGraphic">
          <ac:chgData name="Tường SKHĐT" userId="ab9568c39a88b08a" providerId="LiveId" clId="{805CF0FB-80C6-433A-A325-AD1474DF2833}" dt="2023-03-09T10:08:43.480" v="5642" actId="20577"/>
          <ac:graphicFrameMkLst>
            <pc:docMk/>
            <pc:sldMk cId="3875002478" sldId="2147473561"/>
            <ac:graphicFrameMk id="3" creationId="{746C7B22-BD38-B6A5-7666-44553F0C486D}"/>
          </ac:graphicFrameMkLst>
        </pc:graphicFrameChg>
      </pc:sldChg>
      <pc:sldChg chg="modSp add mod">
        <pc:chgData name="Tường SKHĐT" userId="ab9568c39a88b08a" providerId="LiveId" clId="{805CF0FB-80C6-433A-A325-AD1474DF2833}" dt="2023-03-09T08:49:12.300" v="4847" actId="20577"/>
        <pc:sldMkLst>
          <pc:docMk/>
          <pc:sldMk cId="565017184" sldId="2147473562"/>
        </pc:sldMkLst>
        <pc:spChg chg="mod">
          <ac:chgData name="Tường SKHĐT" userId="ab9568c39a88b08a" providerId="LiveId" clId="{805CF0FB-80C6-433A-A325-AD1474DF2833}" dt="2023-03-08T04:41:01.502" v="2611" actId="1076"/>
          <ac:spMkLst>
            <pc:docMk/>
            <pc:sldMk cId="565017184" sldId="2147473562"/>
            <ac:spMk id="4" creationId="{00000000-0000-0000-0000-000000000000}"/>
          </ac:spMkLst>
        </pc:spChg>
        <pc:graphicFrameChg chg="mod modGraphic">
          <ac:chgData name="Tường SKHĐT" userId="ab9568c39a88b08a" providerId="LiveId" clId="{805CF0FB-80C6-433A-A325-AD1474DF2833}" dt="2023-03-09T08:49:12.300" v="4847" actId="20577"/>
          <ac:graphicFrameMkLst>
            <pc:docMk/>
            <pc:sldMk cId="565017184" sldId="2147473562"/>
            <ac:graphicFrameMk id="2" creationId="{FBFFDBCD-49A2-B604-F9E9-B81E95DF4EB5}"/>
          </ac:graphicFrameMkLst>
        </pc:graphicFrameChg>
      </pc:sldChg>
      <pc:sldChg chg="addSp delSp modSp add mod">
        <pc:chgData name="Tường SKHĐT" userId="ab9568c39a88b08a" providerId="LiveId" clId="{805CF0FB-80C6-433A-A325-AD1474DF2833}" dt="2023-03-09T07:50:08.837" v="4494" actId="20577"/>
        <pc:sldMkLst>
          <pc:docMk/>
          <pc:sldMk cId="385818067" sldId="2147473563"/>
        </pc:sldMkLst>
        <pc:spChg chg="mod">
          <ac:chgData name="Tường SKHĐT" userId="ab9568c39a88b08a" providerId="LiveId" clId="{805CF0FB-80C6-433A-A325-AD1474DF2833}" dt="2023-03-09T01:59:27.282" v="3579"/>
          <ac:spMkLst>
            <pc:docMk/>
            <pc:sldMk cId="385818067" sldId="2147473563"/>
            <ac:spMk id="4" creationId="{16D24723-A233-03FF-2329-1817AB93339D}"/>
          </ac:spMkLst>
        </pc:spChg>
        <pc:graphicFrameChg chg="add mod modGraphic">
          <ac:chgData name="Tường SKHĐT" userId="ab9568c39a88b08a" providerId="LiveId" clId="{805CF0FB-80C6-433A-A325-AD1474DF2833}" dt="2023-03-08T09:25:59.819" v="2981" actId="113"/>
          <ac:graphicFrameMkLst>
            <pc:docMk/>
            <pc:sldMk cId="385818067" sldId="2147473563"/>
            <ac:graphicFrameMk id="2" creationId="{818875D1-09D0-2A41-4D2F-610F8152A504}"/>
          </ac:graphicFrameMkLst>
        </pc:graphicFrameChg>
        <pc:graphicFrameChg chg="mod modGraphic">
          <ac:chgData name="Tường SKHĐT" userId="ab9568c39a88b08a" providerId="LiveId" clId="{805CF0FB-80C6-433A-A325-AD1474DF2833}" dt="2023-03-09T07:50:08.837" v="4494" actId="20577"/>
          <ac:graphicFrameMkLst>
            <pc:docMk/>
            <pc:sldMk cId="385818067" sldId="2147473563"/>
            <ac:graphicFrameMk id="8" creationId="{B5E5335D-2EED-82AF-3A59-FAE8BB94EAE1}"/>
          </ac:graphicFrameMkLst>
        </pc:graphicFrameChg>
        <pc:graphicFrameChg chg="del">
          <ac:chgData name="Tường SKHĐT" userId="ab9568c39a88b08a" providerId="LiveId" clId="{805CF0FB-80C6-433A-A325-AD1474DF2833}" dt="2023-03-08T08:32:41.465" v="2951" actId="21"/>
          <ac:graphicFrameMkLst>
            <pc:docMk/>
            <pc:sldMk cId="385818067" sldId="2147473563"/>
            <ac:graphicFrameMk id="10" creationId="{8E7087F5-D658-8CDB-7D18-3EEA8C8807BD}"/>
          </ac:graphicFrameMkLst>
        </pc:graphicFrameChg>
        <pc:cxnChg chg="mod">
          <ac:chgData name="Tường SKHĐT" userId="ab9568c39a88b08a" providerId="LiveId" clId="{805CF0FB-80C6-433A-A325-AD1474DF2833}" dt="2023-03-09T01:59:29.489" v="3580" actId="14100"/>
          <ac:cxnSpMkLst>
            <pc:docMk/>
            <pc:sldMk cId="385818067" sldId="2147473563"/>
            <ac:cxnSpMk id="6" creationId="{FF705920-E1B4-B4D0-9EA4-A27AA5761577}"/>
          </ac:cxnSpMkLst>
        </pc:cxnChg>
      </pc:sldChg>
      <pc:sldChg chg="add del">
        <pc:chgData name="Tường SKHĐT" userId="ab9568c39a88b08a" providerId="LiveId" clId="{805CF0FB-80C6-433A-A325-AD1474DF2833}" dt="2023-03-08T08:28:03.420" v="2815" actId="2696"/>
        <pc:sldMkLst>
          <pc:docMk/>
          <pc:sldMk cId="2362659468" sldId="2147473563"/>
        </pc:sldMkLst>
      </pc:sldChg>
      <pc:sldChg chg="modSp add mod">
        <pc:chgData name="Tường SKHĐT" userId="ab9568c39a88b08a" providerId="LiveId" clId="{805CF0FB-80C6-433A-A325-AD1474DF2833}" dt="2023-03-09T08:01:52.010" v="4536" actId="20577"/>
        <pc:sldMkLst>
          <pc:docMk/>
          <pc:sldMk cId="996757595" sldId="2147473564"/>
        </pc:sldMkLst>
        <pc:spChg chg="mod">
          <ac:chgData name="Tường SKHĐT" userId="ab9568c39a88b08a" providerId="LiveId" clId="{805CF0FB-80C6-433A-A325-AD1474DF2833}" dt="2023-03-09T01:59:39.843" v="3583"/>
          <ac:spMkLst>
            <pc:docMk/>
            <pc:sldMk cId="996757595" sldId="2147473564"/>
            <ac:spMk id="4" creationId="{16D24723-A233-03FF-2329-1817AB93339D}"/>
          </ac:spMkLst>
        </pc:spChg>
        <pc:spChg chg="mod">
          <ac:chgData name="Tường SKHĐT" userId="ab9568c39a88b08a" providerId="LiveId" clId="{805CF0FB-80C6-433A-A325-AD1474DF2833}" dt="2023-03-09T08:01:52.010" v="4536" actId="20577"/>
          <ac:spMkLst>
            <pc:docMk/>
            <pc:sldMk cId="996757595" sldId="2147473564"/>
            <ac:spMk id="25" creationId="{01DC26C3-E6F4-C27A-8624-3A65D81B6008}"/>
          </ac:spMkLst>
        </pc:spChg>
        <pc:cxnChg chg="mod">
          <ac:chgData name="Tường SKHĐT" userId="ab9568c39a88b08a" providerId="LiveId" clId="{805CF0FB-80C6-433A-A325-AD1474DF2833}" dt="2023-03-09T01:59:42.674" v="3584" actId="14100"/>
          <ac:cxnSpMkLst>
            <pc:docMk/>
            <pc:sldMk cId="996757595" sldId="2147473564"/>
            <ac:cxnSpMk id="6" creationId="{FF705920-E1B4-B4D0-9EA4-A27AA5761577}"/>
          </ac:cxnSpMkLst>
        </pc:cxnChg>
      </pc:sldChg>
      <pc:sldChg chg="add del">
        <pc:chgData name="Tường SKHĐT" userId="ab9568c39a88b08a" providerId="LiveId" clId="{805CF0FB-80C6-433A-A325-AD1474DF2833}" dt="2023-03-08T08:32:11.278" v="2945" actId="2696"/>
        <pc:sldMkLst>
          <pc:docMk/>
          <pc:sldMk cId="1576905789" sldId="2147473564"/>
        </pc:sldMkLst>
      </pc:sldChg>
      <pc:sldChg chg="modSp add mod">
        <pc:chgData name="Tường SKHĐT" userId="ab9568c39a88b08a" providerId="LiveId" clId="{805CF0FB-80C6-433A-A325-AD1474DF2833}" dt="2023-03-08T09:34:16.768" v="3330" actId="1076"/>
        <pc:sldMkLst>
          <pc:docMk/>
          <pc:sldMk cId="3515259894" sldId="2147473565"/>
        </pc:sldMkLst>
        <pc:spChg chg="mod">
          <ac:chgData name="Tường SKHĐT" userId="ab9568c39a88b08a" providerId="LiveId" clId="{805CF0FB-80C6-433A-A325-AD1474DF2833}" dt="2023-03-08T09:34:14.860" v="3329" actId="1076"/>
          <ac:spMkLst>
            <pc:docMk/>
            <pc:sldMk cId="3515259894" sldId="2147473565"/>
            <ac:spMk id="4" creationId="{00000000-0000-0000-0000-000000000000}"/>
          </ac:spMkLst>
        </pc:spChg>
        <pc:graphicFrameChg chg="mod modGraphic">
          <ac:chgData name="Tường SKHĐT" userId="ab9568c39a88b08a" providerId="LiveId" clId="{805CF0FB-80C6-433A-A325-AD1474DF2833}" dt="2023-03-08T09:34:16.768" v="3330" actId="1076"/>
          <ac:graphicFrameMkLst>
            <pc:docMk/>
            <pc:sldMk cId="3515259894" sldId="2147473565"/>
            <ac:graphicFrameMk id="2" creationId="{FBFFDBCD-49A2-B604-F9E9-B81E95DF4EB5}"/>
          </ac:graphicFrameMkLst>
        </pc:graphicFrameChg>
      </pc:sldChg>
      <pc:sldChg chg="addSp delSp modSp add mod">
        <pc:chgData name="Tường SKHĐT" userId="ab9568c39a88b08a" providerId="LiveId" clId="{805CF0FB-80C6-433A-A325-AD1474DF2833}" dt="2023-03-09T02:00:22.599" v="3594" actId="14100"/>
        <pc:sldMkLst>
          <pc:docMk/>
          <pc:sldMk cId="1157287981" sldId="2147473566"/>
        </pc:sldMkLst>
        <pc:spChg chg="mod">
          <ac:chgData name="Tường SKHĐT" userId="ab9568c39a88b08a" providerId="LiveId" clId="{805CF0FB-80C6-433A-A325-AD1474DF2833}" dt="2023-03-09T02:00:18.852" v="3593"/>
          <ac:spMkLst>
            <pc:docMk/>
            <pc:sldMk cId="1157287981" sldId="2147473566"/>
            <ac:spMk id="4" creationId="{16D24723-A233-03FF-2329-1817AB93339D}"/>
          </ac:spMkLst>
        </pc:spChg>
        <pc:spChg chg="mod">
          <ac:chgData name="Tường SKHĐT" userId="ab9568c39a88b08a" providerId="LiveId" clId="{805CF0FB-80C6-433A-A325-AD1474DF2833}" dt="2023-03-08T09:57:59.045" v="3444" actId="1076"/>
          <ac:spMkLst>
            <pc:docMk/>
            <pc:sldMk cId="1157287981" sldId="2147473566"/>
            <ac:spMk id="25" creationId="{01DC26C3-E6F4-C27A-8624-3A65D81B6008}"/>
          </ac:spMkLst>
        </pc:spChg>
        <pc:graphicFrameChg chg="add mod modGraphic">
          <ac:chgData name="Tường SKHĐT" userId="ab9568c39a88b08a" providerId="LiveId" clId="{805CF0FB-80C6-433A-A325-AD1474DF2833}" dt="2023-03-08T09:58:01.713" v="3445" actId="1076"/>
          <ac:graphicFrameMkLst>
            <pc:docMk/>
            <pc:sldMk cId="1157287981" sldId="2147473566"/>
            <ac:graphicFrameMk id="5" creationId="{5E276789-81D8-473A-F984-C33FAEC6527A}"/>
          </ac:graphicFrameMkLst>
        </pc:graphicFrameChg>
        <pc:graphicFrameChg chg="add del mod modGraphic">
          <ac:chgData name="Tường SKHĐT" userId="ab9568c39a88b08a" providerId="LiveId" clId="{805CF0FB-80C6-433A-A325-AD1474DF2833}" dt="2023-03-08T09:54:51.445" v="3400"/>
          <ac:graphicFrameMkLst>
            <pc:docMk/>
            <pc:sldMk cId="1157287981" sldId="2147473566"/>
            <ac:graphicFrameMk id="7" creationId="{018EAF03-B8DE-FF5E-5061-D73E786D0E90}"/>
          </ac:graphicFrameMkLst>
        </pc:graphicFrameChg>
        <pc:graphicFrameChg chg="del">
          <ac:chgData name="Tường SKHĐT" userId="ab9568c39a88b08a" providerId="LiveId" clId="{805CF0FB-80C6-433A-A325-AD1474DF2833}" dt="2023-03-08T09:51:00.564" v="3332" actId="21"/>
          <ac:graphicFrameMkLst>
            <pc:docMk/>
            <pc:sldMk cId="1157287981" sldId="2147473566"/>
            <ac:graphicFrameMk id="8" creationId="{B5E5335D-2EED-82AF-3A59-FAE8BB94EAE1}"/>
          </ac:graphicFrameMkLst>
        </pc:graphicFrameChg>
        <pc:graphicFrameChg chg="add del mod modGraphic">
          <ac:chgData name="Tường SKHĐT" userId="ab9568c39a88b08a" providerId="LiveId" clId="{805CF0FB-80C6-433A-A325-AD1474DF2833}" dt="2023-03-08T09:55:41.497" v="3409" actId="21"/>
          <ac:graphicFrameMkLst>
            <pc:docMk/>
            <pc:sldMk cId="1157287981" sldId="2147473566"/>
            <ac:graphicFrameMk id="9" creationId="{F3410E20-C4AF-53E2-BD33-337AFCB0EF41}"/>
          </ac:graphicFrameMkLst>
        </pc:graphicFrameChg>
        <pc:graphicFrameChg chg="add del mod">
          <ac:chgData name="Tường SKHĐT" userId="ab9568c39a88b08a" providerId="LiveId" clId="{805CF0FB-80C6-433A-A325-AD1474DF2833}" dt="2023-03-08T09:55:43.545" v="3411"/>
          <ac:graphicFrameMkLst>
            <pc:docMk/>
            <pc:sldMk cId="1157287981" sldId="2147473566"/>
            <ac:graphicFrameMk id="10" creationId="{293E1CDA-1831-2691-ED28-6D1E04421FCF}"/>
          </ac:graphicFrameMkLst>
        </pc:graphicFrameChg>
        <pc:graphicFrameChg chg="add mod modGraphic">
          <ac:chgData name="Tường SKHĐT" userId="ab9568c39a88b08a" providerId="LiveId" clId="{805CF0FB-80C6-433A-A325-AD1474DF2833}" dt="2023-03-08T09:57:57.124" v="3443" actId="1076"/>
          <ac:graphicFrameMkLst>
            <pc:docMk/>
            <pc:sldMk cId="1157287981" sldId="2147473566"/>
            <ac:graphicFrameMk id="11" creationId="{4B45D7FF-8DC4-EFEE-6185-72256E375CCA}"/>
          </ac:graphicFrameMkLst>
        </pc:graphicFrameChg>
        <pc:picChg chg="del">
          <ac:chgData name="Tường SKHĐT" userId="ab9568c39a88b08a" providerId="LiveId" clId="{805CF0FB-80C6-433A-A325-AD1474DF2833}" dt="2023-03-08T09:51:04.009" v="3334" actId="21"/>
          <ac:picMkLst>
            <pc:docMk/>
            <pc:sldMk cId="1157287981" sldId="2147473566"/>
            <ac:picMk id="2" creationId="{8AD87206-4C50-4DB5-8F5A-727327E5FF65}"/>
          </ac:picMkLst>
        </pc:picChg>
        <pc:picChg chg="del">
          <ac:chgData name="Tường SKHĐT" userId="ab9568c39a88b08a" providerId="LiveId" clId="{805CF0FB-80C6-433A-A325-AD1474DF2833}" dt="2023-03-08T09:51:02.119" v="3333" actId="21"/>
          <ac:picMkLst>
            <pc:docMk/>
            <pc:sldMk cId="1157287981" sldId="2147473566"/>
            <ac:picMk id="3" creationId="{65E2C9CA-C74B-BF6D-7601-969BE1A28E59}"/>
          </ac:picMkLst>
        </pc:picChg>
        <pc:cxnChg chg="mod">
          <ac:chgData name="Tường SKHĐT" userId="ab9568c39a88b08a" providerId="LiveId" clId="{805CF0FB-80C6-433A-A325-AD1474DF2833}" dt="2023-03-09T02:00:22.599" v="3594" actId="14100"/>
          <ac:cxnSpMkLst>
            <pc:docMk/>
            <pc:sldMk cId="1157287981" sldId="2147473566"/>
            <ac:cxnSpMk id="6" creationId="{FF705920-E1B4-B4D0-9EA4-A27AA5761577}"/>
          </ac:cxnSpMkLst>
        </pc:cxnChg>
      </pc:sldChg>
      <pc:sldChg chg="addSp delSp modSp add mod">
        <pc:chgData name="Tường SKHĐT" userId="ab9568c39a88b08a" providerId="LiveId" clId="{805CF0FB-80C6-433A-A325-AD1474DF2833}" dt="2023-03-09T04:21:44.292" v="4345" actId="20577"/>
        <pc:sldMkLst>
          <pc:docMk/>
          <pc:sldMk cId="2301901717" sldId="2147473567"/>
        </pc:sldMkLst>
        <pc:spChg chg="mod">
          <ac:chgData name="Tường SKHĐT" userId="ab9568c39a88b08a" providerId="LiveId" clId="{805CF0FB-80C6-433A-A325-AD1474DF2833}" dt="2023-03-09T02:48:25.210" v="3793" actId="1076"/>
          <ac:spMkLst>
            <pc:docMk/>
            <pc:sldMk cId="2301901717" sldId="2147473567"/>
            <ac:spMk id="4" creationId="{00000000-0000-0000-0000-000000000000}"/>
          </ac:spMkLst>
        </pc:spChg>
        <pc:graphicFrameChg chg="mod modGraphic">
          <ac:chgData name="Tường SKHĐT" userId="ab9568c39a88b08a" providerId="LiveId" clId="{805CF0FB-80C6-433A-A325-AD1474DF2833}" dt="2023-03-09T03:16:08.627" v="4074" actId="1076"/>
          <ac:graphicFrameMkLst>
            <pc:docMk/>
            <pc:sldMk cId="2301901717" sldId="2147473567"/>
            <ac:graphicFrameMk id="2" creationId="{FBFFDBCD-49A2-B604-F9E9-B81E95DF4EB5}"/>
          </ac:graphicFrameMkLst>
        </pc:graphicFrameChg>
        <pc:graphicFrameChg chg="add del mod modGraphic">
          <ac:chgData name="Tường SKHĐT" userId="ab9568c39a88b08a" providerId="LiveId" clId="{805CF0FB-80C6-433A-A325-AD1474DF2833}" dt="2023-03-09T02:59:19.573" v="3936" actId="21"/>
          <ac:graphicFrameMkLst>
            <pc:docMk/>
            <pc:sldMk cId="2301901717" sldId="2147473567"/>
            <ac:graphicFrameMk id="3" creationId="{101903EE-73CB-DC4E-8C89-AF0556607E70}"/>
          </ac:graphicFrameMkLst>
        </pc:graphicFrameChg>
        <pc:graphicFrameChg chg="add mod modGraphic">
          <ac:chgData name="Tường SKHĐT" userId="ab9568c39a88b08a" providerId="LiveId" clId="{805CF0FB-80C6-433A-A325-AD1474DF2833}" dt="2023-03-09T04:21:44.292" v="4345" actId="20577"/>
          <ac:graphicFrameMkLst>
            <pc:docMk/>
            <pc:sldMk cId="2301901717" sldId="2147473567"/>
            <ac:graphicFrameMk id="5" creationId="{92D7994C-159C-9702-DD9E-D007026D48D5}"/>
          </ac:graphicFrameMkLst>
        </pc:graphicFrameChg>
      </pc:sldChg>
      <pc:sldChg chg="add del">
        <pc:chgData name="Tường SKHĐT" userId="ab9568c39a88b08a" providerId="LiveId" clId="{805CF0FB-80C6-433A-A325-AD1474DF2833}" dt="2023-03-09T03:06:02.117" v="3976" actId="2696"/>
        <pc:sldMkLst>
          <pc:docMk/>
          <pc:sldMk cId="3185864811" sldId="2147473568"/>
        </pc:sldMkLst>
      </pc:sldChg>
      <pc:sldChg chg="addSp delSp modSp add mod">
        <pc:chgData name="Tường SKHĐT" userId="ab9568c39a88b08a" providerId="LiveId" clId="{805CF0FB-80C6-433A-A325-AD1474DF2833}" dt="2023-03-09T03:16:15.896" v="4078" actId="1076"/>
        <pc:sldMkLst>
          <pc:docMk/>
          <pc:sldMk cId="1894781878" sldId="2147473569"/>
        </pc:sldMkLst>
        <pc:graphicFrameChg chg="mod modGraphic">
          <ac:chgData name="Tường SKHĐT" userId="ab9568c39a88b08a" providerId="LiveId" clId="{805CF0FB-80C6-433A-A325-AD1474DF2833}" dt="2023-03-09T03:16:15.896" v="4078" actId="1076"/>
          <ac:graphicFrameMkLst>
            <pc:docMk/>
            <pc:sldMk cId="1894781878" sldId="2147473569"/>
            <ac:graphicFrameMk id="2" creationId="{FBFFDBCD-49A2-B604-F9E9-B81E95DF4EB5}"/>
          </ac:graphicFrameMkLst>
        </pc:graphicFrameChg>
        <pc:graphicFrameChg chg="del">
          <ac:chgData name="Tường SKHĐT" userId="ab9568c39a88b08a" providerId="LiveId" clId="{805CF0FB-80C6-433A-A325-AD1474DF2833}" dt="2023-03-09T03:05:58.216" v="3975" actId="21"/>
          <ac:graphicFrameMkLst>
            <pc:docMk/>
            <pc:sldMk cId="1894781878" sldId="2147473569"/>
            <ac:graphicFrameMk id="3" creationId="{2E3E3DAE-54B2-6742-190A-ED1AAD7C7C60}"/>
          </ac:graphicFrameMkLst>
        </pc:graphicFrameChg>
        <pc:graphicFrameChg chg="add mod modGraphic">
          <ac:chgData name="Tường SKHĐT" userId="ab9568c39a88b08a" providerId="LiveId" clId="{805CF0FB-80C6-433A-A325-AD1474DF2833}" dt="2023-03-09T03:13:20.358" v="4042" actId="14100"/>
          <ac:graphicFrameMkLst>
            <pc:docMk/>
            <pc:sldMk cId="1894781878" sldId="2147473569"/>
            <ac:graphicFrameMk id="5" creationId="{2B4146F0-5FAC-C89A-56F3-3309C1B8BC8B}"/>
          </ac:graphicFrameMkLst>
        </pc:graphicFrameChg>
      </pc:sldChg>
      <pc:sldChg chg="addSp modSp add mod">
        <pc:chgData name="Tường SKHĐT" userId="ab9568c39a88b08a" providerId="LiveId" clId="{805CF0FB-80C6-433A-A325-AD1474DF2833}" dt="2023-03-09T04:15:49.136" v="4337" actId="207"/>
        <pc:sldMkLst>
          <pc:docMk/>
          <pc:sldMk cId="2574313621" sldId="2147473570"/>
        </pc:sldMkLst>
        <pc:graphicFrameChg chg="mod modGraphic">
          <ac:chgData name="Tường SKHĐT" userId="ab9568c39a88b08a" providerId="LiveId" clId="{805CF0FB-80C6-433A-A325-AD1474DF2833}" dt="2023-03-09T04:15:49.136" v="4337" actId="207"/>
          <ac:graphicFrameMkLst>
            <pc:docMk/>
            <pc:sldMk cId="2574313621" sldId="2147473570"/>
            <ac:graphicFrameMk id="2" creationId="{FBFFDBCD-49A2-B604-F9E9-B81E95DF4EB5}"/>
          </ac:graphicFrameMkLst>
        </pc:graphicFrameChg>
        <pc:graphicFrameChg chg="add mod modGraphic">
          <ac:chgData name="Tường SKHĐT" userId="ab9568c39a88b08a" providerId="LiveId" clId="{805CF0FB-80C6-433A-A325-AD1474DF2833}" dt="2023-03-09T03:40:37.479" v="4221" actId="207"/>
          <ac:graphicFrameMkLst>
            <pc:docMk/>
            <pc:sldMk cId="2574313621" sldId="2147473570"/>
            <ac:graphicFrameMk id="3" creationId="{666DF257-4A6B-21D1-58A7-3CC0A50693CF}"/>
          </ac:graphicFrameMkLst>
        </pc:graphicFrameChg>
      </pc:sldChg>
      <pc:sldChg chg="addSp modSp add mod">
        <pc:chgData name="Tường SKHĐT" userId="ab9568c39a88b08a" providerId="LiveId" clId="{805CF0FB-80C6-433A-A325-AD1474DF2833}" dt="2023-03-09T07:47:37.598" v="4484" actId="20577"/>
        <pc:sldMkLst>
          <pc:docMk/>
          <pc:sldMk cId="1471350114" sldId="2147473571"/>
        </pc:sldMkLst>
        <pc:graphicFrameChg chg="mod modGraphic">
          <ac:chgData name="Tường SKHĐT" userId="ab9568c39a88b08a" providerId="LiveId" clId="{805CF0FB-80C6-433A-A325-AD1474DF2833}" dt="2023-03-09T07:47:37.598" v="4484" actId="20577"/>
          <ac:graphicFrameMkLst>
            <pc:docMk/>
            <pc:sldMk cId="1471350114" sldId="2147473571"/>
            <ac:graphicFrameMk id="2" creationId="{FBFFDBCD-49A2-B604-F9E9-B81E95DF4EB5}"/>
          </ac:graphicFrameMkLst>
        </pc:graphicFrameChg>
        <pc:graphicFrameChg chg="add mod modGraphic">
          <ac:chgData name="Tường SKHĐT" userId="ab9568c39a88b08a" providerId="LiveId" clId="{805CF0FB-80C6-433A-A325-AD1474DF2833}" dt="2023-03-09T03:49:30.222" v="4264" actId="207"/>
          <ac:graphicFrameMkLst>
            <pc:docMk/>
            <pc:sldMk cId="1471350114" sldId="2147473571"/>
            <ac:graphicFrameMk id="3" creationId="{3AFBC8E4-45A7-6DE9-294A-B5018C870AF5}"/>
          </ac:graphicFrameMkLst>
        </pc:graphicFrameChg>
      </pc:sldChg>
      <pc:sldChg chg="modSp add del mod">
        <pc:chgData name="Tường SKHĐT" userId="ab9568c39a88b08a" providerId="LiveId" clId="{805CF0FB-80C6-433A-A325-AD1474DF2833}" dt="2023-03-09T03:08:08.596" v="4020" actId="2696"/>
        <pc:sldMkLst>
          <pc:docMk/>
          <pc:sldMk cId="751933978" sldId="2147473572"/>
        </pc:sldMkLst>
        <pc:graphicFrameChg chg="mod modGraphic">
          <ac:chgData name="Tường SKHĐT" userId="ab9568c39a88b08a" providerId="LiveId" clId="{805CF0FB-80C6-433A-A325-AD1474DF2833}" dt="2023-03-09T03:07:58.448" v="4018" actId="14100"/>
          <ac:graphicFrameMkLst>
            <pc:docMk/>
            <pc:sldMk cId="751933978" sldId="2147473572"/>
            <ac:graphicFrameMk id="2" creationId="{FBFFDBCD-49A2-B604-F9E9-B81E95DF4EB5}"/>
          </ac:graphicFrameMkLst>
        </pc:graphicFrameChg>
      </pc:sldChg>
      <pc:sldChg chg="addSp modSp add mod">
        <pc:chgData name="Tường SKHĐT" userId="ab9568c39a88b08a" providerId="LiveId" clId="{805CF0FB-80C6-433A-A325-AD1474DF2833}" dt="2023-03-09T09:17:56.249" v="5096" actId="1076"/>
        <pc:sldMkLst>
          <pc:docMk/>
          <pc:sldMk cId="2382640443" sldId="2147473573"/>
        </pc:sldMkLst>
        <pc:graphicFrameChg chg="mod modGraphic">
          <ac:chgData name="Tường SKHĐT" userId="ab9568c39a88b08a" providerId="LiveId" clId="{805CF0FB-80C6-433A-A325-AD1474DF2833}" dt="2023-03-09T09:17:56.249" v="5096" actId="1076"/>
          <ac:graphicFrameMkLst>
            <pc:docMk/>
            <pc:sldMk cId="2382640443" sldId="2147473573"/>
            <ac:graphicFrameMk id="2" creationId="{FBFFDBCD-49A2-B604-F9E9-B81E95DF4EB5}"/>
          </ac:graphicFrameMkLst>
        </pc:graphicFrameChg>
        <pc:graphicFrameChg chg="add mod modGraphic">
          <ac:chgData name="Tường SKHĐT" userId="ab9568c39a88b08a" providerId="LiveId" clId="{805CF0FB-80C6-433A-A325-AD1474DF2833}" dt="2023-03-09T03:52:08.140" v="4275" actId="403"/>
          <ac:graphicFrameMkLst>
            <pc:docMk/>
            <pc:sldMk cId="2382640443" sldId="2147473573"/>
            <ac:graphicFrameMk id="3" creationId="{C8CB4003-4A3D-6F30-7047-EE5887697347}"/>
          </ac:graphicFrameMkLst>
        </pc:graphicFrameChg>
      </pc:sldChg>
      <pc:sldChg chg="addSp delSp modSp add mod">
        <pc:chgData name="Tường SKHĐT" userId="ab9568c39a88b08a" providerId="LiveId" clId="{805CF0FB-80C6-433A-A325-AD1474DF2833}" dt="2023-03-09T10:23:19.419" v="5668" actId="1076"/>
        <pc:sldMkLst>
          <pc:docMk/>
          <pc:sldMk cId="1783682046" sldId="2147473574"/>
        </pc:sldMkLst>
        <pc:graphicFrameChg chg="mod modGraphic">
          <ac:chgData name="Tường SKHĐT" userId="ab9568c39a88b08a" providerId="LiveId" clId="{805CF0FB-80C6-433A-A325-AD1474DF2833}" dt="2023-03-09T10:23:11.671" v="5665" actId="404"/>
          <ac:graphicFrameMkLst>
            <pc:docMk/>
            <pc:sldMk cId="1783682046" sldId="2147473574"/>
            <ac:graphicFrameMk id="8" creationId="{B5E5335D-2EED-82AF-3A59-FAE8BB94EAE1}"/>
          </ac:graphicFrameMkLst>
        </pc:graphicFrameChg>
        <pc:picChg chg="del">
          <ac:chgData name="Tường SKHĐT" userId="ab9568c39a88b08a" providerId="LiveId" clId="{805CF0FB-80C6-433A-A325-AD1474DF2833}" dt="2023-03-09T08:00:54.529" v="4496" actId="21"/>
          <ac:picMkLst>
            <pc:docMk/>
            <pc:sldMk cId="1783682046" sldId="2147473574"/>
            <ac:picMk id="3" creationId="{C3BEF987-00D8-EC17-C0FA-5ED70A56A5FD}"/>
          </ac:picMkLst>
        </pc:picChg>
        <pc:picChg chg="add mod">
          <ac:chgData name="Tường SKHĐT" userId="ab9568c39a88b08a" providerId="LiveId" clId="{805CF0FB-80C6-433A-A325-AD1474DF2833}" dt="2023-03-09T10:23:19.419" v="5668" actId="1076"/>
          <ac:picMkLst>
            <pc:docMk/>
            <pc:sldMk cId="1783682046" sldId="2147473574"/>
            <ac:picMk id="5" creationId="{A3137C45-8C15-1EFE-826B-99FC6F8CE52D}"/>
          </ac:picMkLst>
        </pc:picChg>
        <pc:picChg chg="add mod">
          <ac:chgData name="Tường SKHĐT" userId="ab9568c39a88b08a" providerId="LiveId" clId="{805CF0FB-80C6-433A-A325-AD1474DF2833}" dt="2023-03-09T10:23:17.771" v="5667" actId="1076"/>
          <ac:picMkLst>
            <pc:docMk/>
            <pc:sldMk cId="1783682046" sldId="2147473574"/>
            <ac:picMk id="9" creationId="{812C70B2-E296-1A3A-3ED3-142732768352}"/>
          </ac:picMkLst>
        </pc:picChg>
        <pc:picChg chg="add mod">
          <ac:chgData name="Tường SKHĐT" userId="ab9568c39a88b08a" providerId="LiveId" clId="{805CF0FB-80C6-433A-A325-AD1474DF2833}" dt="2023-03-09T10:23:16.461" v="5666" actId="1076"/>
          <ac:picMkLst>
            <pc:docMk/>
            <pc:sldMk cId="1783682046" sldId="2147473574"/>
            <ac:picMk id="11" creationId="{52E1C36C-0AFE-D81A-CF7D-27AE89FB4FB8}"/>
          </ac:picMkLst>
        </pc:picChg>
      </pc:sldChg>
    </pc:docChg>
  </pc:docChgLst>
  <pc:docChgLst>
    <pc:chgData name="Tường SKHĐT" userId="ab9568c39a88b08a" providerId="LiveId" clId="{2EBC6E85-2441-4376-9BAA-F39AFD05678E}"/>
    <pc:docChg chg="modSld">
      <pc:chgData name="Tường SKHĐT" userId="ab9568c39a88b08a" providerId="LiveId" clId="{2EBC6E85-2441-4376-9BAA-F39AFD05678E}" dt="2022-11-22T08:38:05.244" v="8" actId="20577"/>
      <pc:docMkLst>
        <pc:docMk/>
      </pc:docMkLst>
      <pc:sldChg chg="modSp mod">
        <pc:chgData name="Tường SKHĐT" userId="ab9568c39a88b08a" providerId="LiveId" clId="{2EBC6E85-2441-4376-9BAA-F39AFD05678E}" dt="2022-11-22T08:38:05.244" v="8" actId="20577"/>
        <pc:sldMkLst>
          <pc:docMk/>
          <pc:sldMk cId="1770736918" sldId="413"/>
        </pc:sldMkLst>
        <pc:spChg chg="mod">
          <ac:chgData name="Tường SKHĐT" userId="ab9568c39a88b08a" providerId="LiveId" clId="{2EBC6E85-2441-4376-9BAA-F39AFD05678E}" dt="2022-11-22T08:38:05.244" v="8" actId="20577"/>
          <ac:spMkLst>
            <pc:docMk/>
            <pc:sldMk cId="1770736918" sldId="413"/>
            <ac:spMk id="12" creationId="{5A3DCAC9-C389-CD84-3C84-E7EC9803EA7C}"/>
          </ac:spMkLst>
        </pc:spChg>
      </pc:sldChg>
    </pc:docChg>
  </pc:docChgLst>
  <pc:docChgLst>
    <pc:chgData name="Tường SKHĐT" userId="ab9568c39a88b08a" providerId="LiveId" clId="{BAF5808B-5BAF-4BA4-81CA-1D5FCEFD69CD}"/>
    <pc:docChg chg="custSel addSld delSld modSld">
      <pc:chgData name="Tường SKHĐT" userId="ab9568c39a88b08a" providerId="LiveId" clId="{BAF5808B-5BAF-4BA4-81CA-1D5FCEFD69CD}" dt="2023-05-08T00:13:27.369" v="18" actId="14100"/>
      <pc:docMkLst>
        <pc:docMk/>
      </pc:docMkLst>
      <pc:sldChg chg="modSp mod">
        <pc:chgData name="Tường SKHĐT" userId="ab9568c39a88b08a" providerId="LiveId" clId="{BAF5808B-5BAF-4BA4-81CA-1D5FCEFD69CD}" dt="2023-05-08T00:10:18.514" v="8" actId="1076"/>
        <pc:sldMkLst>
          <pc:docMk/>
          <pc:sldMk cId="996757595" sldId="2147473564"/>
        </pc:sldMkLst>
        <pc:spChg chg="mod">
          <ac:chgData name="Tường SKHĐT" userId="ab9568c39a88b08a" providerId="LiveId" clId="{BAF5808B-5BAF-4BA4-81CA-1D5FCEFD69CD}" dt="2023-05-08T00:10:18.514" v="8" actId="1076"/>
          <ac:spMkLst>
            <pc:docMk/>
            <pc:sldMk cId="996757595" sldId="2147473564"/>
            <ac:spMk id="4" creationId="{16D24723-A233-03FF-2329-1817AB93339D}"/>
          </ac:spMkLst>
        </pc:spChg>
        <pc:spChg chg="mod">
          <ac:chgData name="Tường SKHĐT" userId="ab9568c39a88b08a" providerId="LiveId" clId="{BAF5808B-5BAF-4BA4-81CA-1D5FCEFD69CD}" dt="2023-05-08T00:10:15.099" v="7" actId="1076"/>
          <ac:spMkLst>
            <pc:docMk/>
            <pc:sldMk cId="996757595" sldId="2147473564"/>
            <ac:spMk id="25" creationId="{01DC26C3-E6F4-C27A-8624-3A65D81B6008}"/>
          </ac:spMkLst>
        </pc:spChg>
        <pc:graphicFrameChg chg="mod modGraphic">
          <ac:chgData name="Tường SKHĐT" userId="ab9568c39a88b08a" providerId="LiveId" clId="{BAF5808B-5BAF-4BA4-81CA-1D5FCEFD69CD}" dt="2023-05-08T00:10:11.281" v="5" actId="1076"/>
          <ac:graphicFrameMkLst>
            <pc:docMk/>
            <pc:sldMk cId="996757595" sldId="2147473564"/>
            <ac:graphicFrameMk id="8" creationId="{B5E5335D-2EED-82AF-3A59-FAE8BB94EAE1}"/>
          </ac:graphicFrameMkLst>
        </pc:graphicFrameChg>
        <pc:picChg chg="mod">
          <ac:chgData name="Tường SKHĐT" userId="ab9568c39a88b08a" providerId="LiveId" clId="{BAF5808B-5BAF-4BA4-81CA-1D5FCEFD69CD}" dt="2023-05-08T00:10:12.822" v="6" actId="1076"/>
          <ac:picMkLst>
            <pc:docMk/>
            <pc:sldMk cId="996757595" sldId="2147473564"/>
            <ac:picMk id="3" creationId="{9B28E23C-E140-A1AD-5D04-A5E28F9A3583}"/>
          </ac:picMkLst>
        </pc:picChg>
        <pc:cxnChg chg="mod">
          <ac:chgData name="Tường SKHĐT" userId="ab9568c39a88b08a" providerId="LiveId" clId="{BAF5808B-5BAF-4BA4-81CA-1D5FCEFD69CD}" dt="2023-05-08T00:10:18.514" v="8" actId="1076"/>
          <ac:cxnSpMkLst>
            <pc:docMk/>
            <pc:sldMk cId="996757595" sldId="2147473564"/>
            <ac:cxnSpMk id="6" creationId="{FF705920-E1B4-B4D0-9EA4-A27AA5761577}"/>
          </ac:cxnSpMkLst>
        </pc:cxnChg>
      </pc:sldChg>
      <pc:sldChg chg="delSp modSp mod">
        <pc:chgData name="Tường SKHĐT" userId="ab9568c39a88b08a" providerId="LiveId" clId="{BAF5808B-5BAF-4BA4-81CA-1D5FCEFD69CD}" dt="2023-05-08T00:13:27.369" v="18" actId="14100"/>
        <pc:sldMkLst>
          <pc:docMk/>
          <pc:sldMk cId="3385145612" sldId="2147473706"/>
        </pc:sldMkLst>
        <pc:graphicFrameChg chg="mod">
          <ac:chgData name="Tường SKHĐT" userId="ab9568c39a88b08a" providerId="LiveId" clId="{BAF5808B-5BAF-4BA4-81CA-1D5FCEFD69CD}" dt="2023-05-08T00:13:27.369" v="18" actId="14100"/>
          <ac:graphicFrameMkLst>
            <pc:docMk/>
            <pc:sldMk cId="3385145612" sldId="2147473706"/>
            <ac:graphicFrameMk id="2" creationId="{5B96E70D-C331-5DF5-A428-573F7DD88E07}"/>
          </ac:graphicFrameMkLst>
        </pc:graphicFrameChg>
        <pc:graphicFrameChg chg="del">
          <ac:chgData name="Tường SKHĐT" userId="ab9568c39a88b08a" providerId="LiveId" clId="{BAF5808B-5BAF-4BA4-81CA-1D5FCEFD69CD}" dt="2023-05-08T00:12:57.325" v="15" actId="21"/>
          <ac:graphicFrameMkLst>
            <pc:docMk/>
            <pc:sldMk cId="3385145612" sldId="2147473706"/>
            <ac:graphicFrameMk id="3" creationId="{EB9A6A82-A5B9-30AE-E4CA-0D28BD5C3C94}"/>
          </ac:graphicFrameMkLst>
        </pc:graphicFrameChg>
      </pc:sldChg>
      <pc:sldChg chg="modSp mod">
        <pc:chgData name="Tường SKHĐT" userId="ab9568c39a88b08a" providerId="LiveId" clId="{BAF5808B-5BAF-4BA4-81CA-1D5FCEFD69CD}" dt="2023-05-08T00:10:30.165" v="13" actId="1076"/>
        <pc:sldMkLst>
          <pc:docMk/>
          <pc:sldMk cId="3439953453" sldId="2147473730"/>
        </pc:sldMkLst>
        <pc:spChg chg="mod">
          <ac:chgData name="Tường SKHĐT" userId="ab9568c39a88b08a" providerId="LiveId" clId="{BAF5808B-5BAF-4BA4-81CA-1D5FCEFD69CD}" dt="2023-05-08T00:10:30.165" v="13" actId="1076"/>
          <ac:spMkLst>
            <pc:docMk/>
            <pc:sldMk cId="3439953453" sldId="2147473730"/>
            <ac:spMk id="4" creationId="{16D24723-A233-03FF-2329-1817AB93339D}"/>
          </ac:spMkLst>
        </pc:spChg>
        <pc:spChg chg="mod">
          <ac:chgData name="Tường SKHĐT" userId="ab9568c39a88b08a" providerId="LiveId" clId="{BAF5808B-5BAF-4BA4-81CA-1D5FCEFD69CD}" dt="2023-05-08T00:10:27.545" v="12" actId="1076"/>
          <ac:spMkLst>
            <pc:docMk/>
            <pc:sldMk cId="3439953453" sldId="2147473730"/>
            <ac:spMk id="25" creationId="{01DC26C3-E6F4-C27A-8624-3A65D81B6008}"/>
          </ac:spMkLst>
        </pc:spChg>
        <pc:graphicFrameChg chg="mod">
          <ac:chgData name="Tường SKHĐT" userId="ab9568c39a88b08a" providerId="LiveId" clId="{BAF5808B-5BAF-4BA4-81CA-1D5FCEFD69CD}" dt="2023-05-08T00:10:23.919" v="10" actId="1076"/>
          <ac:graphicFrameMkLst>
            <pc:docMk/>
            <pc:sldMk cId="3439953453" sldId="2147473730"/>
            <ac:graphicFrameMk id="9" creationId="{B5E5335D-2EED-82AF-3A59-FAE8BB94EAE1}"/>
          </ac:graphicFrameMkLst>
        </pc:graphicFrameChg>
        <pc:picChg chg="mod">
          <ac:chgData name="Tường SKHĐT" userId="ab9568c39a88b08a" providerId="LiveId" clId="{BAF5808B-5BAF-4BA4-81CA-1D5FCEFD69CD}" dt="2023-05-08T00:10:25.841" v="11" actId="1076"/>
          <ac:picMkLst>
            <pc:docMk/>
            <pc:sldMk cId="3439953453" sldId="2147473730"/>
            <ac:picMk id="2" creationId="{D332573F-550E-B385-BE21-241ECFBBB573}"/>
          </ac:picMkLst>
        </pc:picChg>
        <pc:cxnChg chg="mod">
          <ac:chgData name="Tường SKHĐT" userId="ab9568c39a88b08a" providerId="LiveId" clId="{BAF5808B-5BAF-4BA4-81CA-1D5FCEFD69CD}" dt="2023-05-08T00:10:30.165" v="13" actId="1076"/>
          <ac:cxnSpMkLst>
            <pc:docMk/>
            <pc:sldMk cId="3439953453" sldId="2147473730"/>
            <ac:cxnSpMk id="6" creationId="{FF705920-E1B4-B4D0-9EA4-A27AA5761577}"/>
          </ac:cxnSpMkLst>
        </pc:cxnChg>
      </pc:sldChg>
      <pc:sldChg chg="add del">
        <pc:chgData name="Tường SKHĐT" userId="ab9568c39a88b08a" providerId="LiveId" clId="{BAF5808B-5BAF-4BA4-81CA-1D5FCEFD69CD}" dt="2023-05-08T00:13:21.857" v="16" actId="2696"/>
        <pc:sldMkLst>
          <pc:docMk/>
          <pc:sldMk cId="1712487806" sldId="2147473731"/>
        </pc:sldMkLst>
      </pc:sldChg>
    </pc:docChg>
  </pc:docChgLst>
  <pc:docChgLst>
    <pc:chgData name="Tường SKHĐT" userId="ab9568c39a88b08a" providerId="LiveId" clId="{583D029E-5C15-4FB2-A6DE-F906E35414C7}"/>
    <pc:docChg chg="custSel addSld delSld modSld">
      <pc:chgData name="Tường SKHĐT" userId="ab9568c39a88b08a" providerId="LiveId" clId="{583D029E-5C15-4FB2-A6DE-F906E35414C7}" dt="2023-01-05T09:28:29.900" v="1501" actId="14100"/>
      <pc:docMkLst>
        <pc:docMk/>
      </pc:docMkLst>
      <pc:sldChg chg="modSp add setBg">
        <pc:chgData name="Tường SKHĐT" userId="ab9568c39a88b08a" providerId="LiveId" clId="{583D029E-5C15-4FB2-A6DE-F906E35414C7}" dt="2023-01-04T09:44:01.573" v="1"/>
        <pc:sldMkLst>
          <pc:docMk/>
          <pc:sldMk cId="1195628240" sldId="312"/>
        </pc:sldMkLst>
        <pc:spChg chg="mod">
          <ac:chgData name="Tường SKHĐT" userId="ab9568c39a88b08a" providerId="LiveId" clId="{583D029E-5C15-4FB2-A6DE-F906E35414C7}" dt="2023-01-04T09:44:01.573" v="1"/>
          <ac:spMkLst>
            <pc:docMk/>
            <pc:sldMk cId="1195628240" sldId="312"/>
            <ac:spMk id="2" creationId="{CA391794-986C-4679-93EA-5F3C3EE6C82F}"/>
          </ac:spMkLst>
        </pc:spChg>
        <pc:spChg chg="mod">
          <ac:chgData name="Tường SKHĐT" userId="ab9568c39a88b08a" providerId="LiveId" clId="{583D029E-5C15-4FB2-A6DE-F906E35414C7}" dt="2023-01-04T09:44:01.573" v="1"/>
          <ac:spMkLst>
            <pc:docMk/>
            <pc:sldMk cId="1195628240" sldId="312"/>
            <ac:spMk id="3" creationId="{2875403B-F6A5-4855-B204-4A9D1F5B268F}"/>
          </ac:spMkLst>
        </pc:spChg>
        <pc:picChg chg="mod">
          <ac:chgData name="Tường SKHĐT" userId="ab9568c39a88b08a" providerId="LiveId" clId="{583D029E-5C15-4FB2-A6DE-F906E35414C7}" dt="2023-01-04T09:44:01.573" v="1"/>
          <ac:picMkLst>
            <pc:docMk/>
            <pc:sldMk cId="1195628240" sldId="312"/>
            <ac:picMk id="14" creationId="{4BA9F69C-2454-4BE0-A8EA-D3E6ADF31657}"/>
          </ac:picMkLst>
        </pc:picChg>
      </pc:sldChg>
      <pc:sldChg chg="modSp mod">
        <pc:chgData name="Tường SKHĐT" userId="ab9568c39a88b08a" providerId="LiveId" clId="{583D029E-5C15-4FB2-A6DE-F906E35414C7}" dt="2023-01-05T09:27:29.771" v="1405" actId="20577"/>
        <pc:sldMkLst>
          <pc:docMk/>
          <pc:sldMk cId="1874412585" sldId="456"/>
        </pc:sldMkLst>
        <pc:spChg chg="mod">
          <ac:chgData name="Tường SKHĐT" userId="ab9568c39a88b08a" providerId="LiveId" clId="{583D029E-5C15-4FB2-A6DE-F906E35414C7}" dt="2023-01-05T09:27:29.771" v="1405" actId="20577"/>
          <ac:spMkLst>
            <pc:docMk/>
            <pc:sldMk cId="1874412585" sldId="456"/>
            <ac:spMk id="4" creationId="{CECFA33A-C2EF-0C67-258B-DBB815AA1B99}"/>
          </ac:spMkLst>
        </pc:spChg>
        <pc:cxnChg chg="mod">
          <ac:chgData name="Tường SKHĐT" userId="ab9568c39a88b08a" providerId="LiveId" clId="{583D029E-5C15-4FB2-A6DE-F906E35414C7}" dt="2023-01-05T09:27:27.362" v="1404" actId="14100"/>
          <ac:cxnSpMkLst>
            <pc:docMk/>
            <pc:sldMk cId="1874412585" sldId="456"/>
            <ac:cxnSpMk id="12" creationId="{3826D4CE-A4D8-EBE2-C44F-E6B388C92E69}"/>
          </ac:cxnSpMkLst>
        </pc:cxnChg>
      </pc:sldChg>
      <pc:sldChg chg="del">
        <pc:chgData name="Tường SKHĐT" userId="ab9568c39a88b08a" providerId="LiveId" clId="{583D029E-5C15-4FB2-A6DE-F906E35414C7}" dt="2023-01-04T09:54:45.203" v="3" actId="2696"/>
        <pc:sldMkLst>
          <pc:docMk/>
          <pc:sldMk cId="2771743581" sldId="459"/>
        </pc:sldMkLst>
      </pc:sldChg>
      <pc:sldChg chg="modSp mod">
        <pc:chgData name="Tường SKHĐT" userId="ab9568c39a88b08a" providerId="LiveId" clId="{583D029E-5C15-4FB2-A6DE-F906E35414C7}" dt="2023-01-05T08:57:42.552" v="977" actId="14100"/>
        <pc:sldMkLst>
          <pc:docMk/>
          <pc:sldMk cId="1861422418" sldId="534"/>
        </pc:sldMkLst>
        <pc:picChg chg="mod">
          <ac:chgData name="Tường SKHĐT" userId="ab9568c39a88b08a" providerId="LiveId" clId="{583D029E-5C15-4FB2-A6DE-F906E35414C7}" dt="2023-01-05T08:57:42.552" v="977" actId="14100"/>
          <ac:picMkLst>
            <pc:docMk/>
            <pc:sldMk cId="1861422418" sldId="534"/>
            <ac:picMk id="6" creationId="{702D596B-50EE-EE71-716D-7F9397D896C4}"/>
          </ac:picMkLst>
        </pc:picChg>
      </pc:sldChg>
      <pc:sldChg chg="del">
        <pc:chgData name="Tường SKHĐT" userId="ab9568c39a88b08a" providerId="LiveId" clId="{583D029E-5C15-4FB2-A6DE-F906E35414C7}" dt="2023-01-04T09:54:49.224" v="4" actId="2696"/>
        <pc:sldMkLst>
          <pc:docMk/>
          <pc:sldMk cId="1964178775" sldId="563"/>
        </pc:sldMkLst>
      </pc:sldChg>
      <pc:sldChg chg="del">
        <pc:chgData name="Tường SKHĐT" userId="ab9568c39a88b08a" providerId="LiveId" clId="{583D029E-5C15-4FB2-A6DE-F906E35414C7}" dt="2023-01-04T10:04:38.323" v="367" actId="2696"/>
        <pc:sldMkLst>
          <pc:docMk/>
          <pc:sldMk cId="443328843" sldId="2147473456"/>
        </pc:sldMkLst>
      </pc:sldChg>
      <pc:sldChg chg="del">
        <pc:chgData name="Tường SKHĐT" userId="ab9568c39a88b08a" providerId="LiveId" clId="{583D029E-5C15-4FB2-A6DE-F906E35414C7}" dt="2023-01-04T10:04:34.647" v="366" actId="2696"/>
        <pc:sldMkLst>
          <pc:docMk/>
          <pc:sldMk cId="915810810" sldId="2147473469"/>
        </pc:sldMkLst>
      </pc:sldChg>
      <pc:sldChg chg="modSp mod">
        <pc:chgData name="Tường SKHĐT" userId="ab9568c39a88b08a" providerId="LiveId" clId="{583D029E-5C15-4FB2-A6DE-F906E35414C7}" dt="2023-01-05T08:57:19.142" v="973" actId="20577"/>
        <pc:sldMkLst>
          <pc:docMk/>
          <pc:sldMk cId="3133831680" sldId="2147473476"/>
        </pc:sldMkLst>
        <pc:spChg chg="mod">
          <ac:chgData name="Tường SKHĐT" userId="ab9568c39a88b08a" providerId="LiveId" clId="{583D029E-5C15-4FB2-A6DE-F906E35414C7}" dt="2023-01-05T08:57:19.142" v="973" actId="20577"/>
          <ac:spMkLst>
            <pc:docMk/>
            <pc:sldMk cId="3133831680" sldId="2147473476"/>
            <ac:spMk id="3" creationId="{D56CE58D-FB5F-1D10-4BAF-E7B0E8BB9294}"/>
          </ac:spMkLst>
        </pc:spChg>
      </pc:sldChg>
      <pc:sldChg chg="modSp mod">
        <pc:chgData name="Tường SKHĐT" userId="ab9568c39a88b08a" providerId="LiveId" clId="{583D029E-5C15-4FB2-A6DE-F906E35414C7}" dt="2023-01-05T09:25:08.809" v="1251" actId="20577"/>
        <pc:sldMkLst>
          <pc:docMk/>
          <pc:sldMk cId="723199981" sldId="2147473477"/>
        </pc:sldMkLst>
        <pc:graphicFrameChg chg="mod modGraphic">
          <ac:chgData name="Tường SKHĐT" userId="ab9568c39a88b08a" providerId="LiveId" clId="{583D029E-5C15-4FB2-A6DE-F906E35414C7}" dt="2023-01-05T09:25:08.809" v="1251" actId="20577"/>
          <ac:graphicFrameMkLst>
            <pc:docMk/>
            <pc:sldMk cId="723199981" sldId="2147473477"/>
            <ac:graphicFrameMk id="2" creationId="{A091C242-D65F-E0C5-16D6-B15756DA14A6}"/>
          </ac:graphicFrameMkLst>
        </pc:graphicFrameChg>
      </pc:sldChg>
      <pc:sldChg chg="modSp add del mod">
        <pc:chgData name="Tường SKHĐT" userId="ab9568c39a88b08a" providerId="LiveId" clId="{583D029E-5C15-4FB2-A6DE-F906E35414C7}" dt="2023-01-04T10:04:25.839" v="365" actId="2696"/>
        <pc:sldMkLst>
          <pc:docMk/>
          <pc:sldMk cId="146694085" sldId="2147473492"/>
        </pc:sldMkLst>
        <pc:spChg chg="mod">
          <ac:chgData name="Tường SKHĐT" userId="ab9568c39a88b08a" providerId="LiveId" clId="{583D029E-5C15-4FB2-A6DE-F906E35414C7}" dt="2023-01-04T09:55:23.226" v="97" actId="20577"/>
          <ac:spMkLst>
            <pc:docMk/>
            <pc:sldMk cId="146694085" sldId="2147473492"/>
            <ac:spMk id="16" creationId="{1E899F37-DC43-E33C-4CA1-511CEAC12C15}"/>
          </ac:spMkLst>
        </pc:spChg>
      </pc:sldChg>
      <pc:sldChg chg="addSp delSp modSp add mod">
        <pc:chgData name="Tường SKHĐT" userId="ab9568c39a88b08a" providerId="LiveId" clId="{583D029E-5C15-4FB2-A6DE-F906E35414C7}" dt="2023-01-04T10:03:47.638" v="364"/>
        <pc:sldMkLst>
          <pc:docMk/>
          <pc:sldMk cId="2479977582" sldId="2147473493"/>
        </pc:sldMkLst>
        <pc:spChg chg="del">
          <ac:chgData name="Tường SKHĐT" userId="ab9568c39a88b08a" providerId="LiveId" clId="{583D029E-5C15-4FB2-A6DE-F906E35414C7}" dt="2023-01-04T09:56:00.194" v="99" actId="21"/>
          <ac:spMkLst>
            <pc:docMk/>
            <pc:sldMk cId="2479977582" sldId="2147473493"/>
            <ac:spMk id="4" creationId="{2DF84545-8DBF-6171-C2F6-4F4668DCC9BA}"/>
          </ac:spMkLst>
        </pc:spChg>
        <pc:spChg chg="del">
          <ac:chgData name="Tường SKHĐT" userId="ab9568c39a88b08a" providerId="LiveId" clId="{583D029E-5C15-4FB2-A6DE-F906E35414C7}" dt="2023-01-04T09:56:05.801" v="100" actId="21"/>
          <ac:spMkLst>
            <pc:docMk/>
            <pc:sldMk cId="2479977582" sldId="2147473493"/>
            <ac:spMk id="61" creationId="{00000000-0000-0000-0000-000000000000}"/>
          </ac:spMkLst>
        </pc:spChg>
        <pc:spChg chg="del">
          <ac:chgData name="Tường SKHĐT" userId="ab9568c39a88b08a" providerId="LiveId" clId="{583D029E-5C15-4FB2-A6DE-F906E35414C7}" dt="2023-01-04T09:56:08.336" v="101" actId="21"/>
          <ac:spMkLst>
            <pc:docMk/>
            <pc:sldMk cId="2479977582" sldId="2147473493"/>
            <ac:spMk id="62" creationId="{00000000-0000-0000-0000-000000000000}"/>
          </ac:spMkLst>
        </pc:spChg>
        <pc:spChg chg="del">
          <ac:chgData name="Tường SKHĐT" userId="ab9568c39a88b08a" providerId="LiveId" clId="{583D029E-5C15-4FB2-A6DE-F906E35414C7}" dt="2023-01-04T09:56:00.194" v="99" actId="21"/>
          <ac:spMkLst>
            <pc:docMk/>
            <pc:sldMk cId="2479977582" sldId="2147473493"/>
            <ac:spMk id="67" creationId="{00000000-0000-0000-0000-000000000000}"/>
          </ac:spMkLst>
        </pc:spChg>
        <pc:spChg chg="del">
          <ac:chgData name="Tường SKHĐT" userId="ab9568c39a88b08a" providerId="LiveId" clId="{583D029E-5C15-4FB2-A6DE-F906E35414C7}" dt="2023-01-04T09:56:00.194" v="99" actId="21"/>
          <ac:spMkLst>
            <pc:docMk/>
            <pc:sldMk cId="2479977582" sldId="2147473493"/>
            <ac:spMk id="68"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73"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79" creationId="{00000000-0000-0000-0000-000000000000}"/>
          </ac:spMkLst>
        </pc:spChg>
        <pc:spChg chg="del">
          <ac:chgData name="Tường SKHĐT" userId="ab9568c39a88b08a" providerId="LiveId" clId="{583D029E-5C15-4FB2-A6DE-F906E35414C7}" dt="2023-01-04T09:56:10.488" v="102" actId="21"/>
          <ac:spMkLst>
            <pc:docMk/>
            <pc:sldMk cId="2479977582" sldId="2147473493"/>
            <ac:spMk id="80" creationId="{00000000-0000-0000-0000-000000000000}"/>
          </ac:spMkLst>
        </pc:spChg>
        <pc:spChg chg="del">
          <ac:chgData name="Tường SKHĐT" userId="ab9568c39a88b08a" providerId="LiveId" clId="{583D029E-5C15-4FB2-A6DE-F906E35414C7}" dt="2023-01-04T09:56:00.194" v="99" actId="21"/>
          <ac:spMkLst>
            <pc:docMk/>
            <pc:sldMk cId="2479977582" sldId="2147473493"/>
            <ac:spMk id="81"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83" creationId="{00000000-0000-0000-0000-000000000000}"/>
          </ac:spMkLst>
        </pc:spChg>
        <pc:spChg chg="del">
          <ac:chgData name="Tường SKHĐT" userId="ab9568c39a88b08a" providerId="LiveId" clId="{583D029E-5C15-4FB2-A6DE-F906E35414C7}" dt="2023-01-04T09:56:05.801" v="100" actId="21"/>
          <ac:spMkLst>
            <pc:docMk/>
            <pc:sldMk cId="2479977582" sldId="2147473493"/>
            <ac:spMk id="84" creationId="{00000000-0000-0000-0000-000000000000}"/>
          </ac:spMkLst>
        </pc:spChg>
        <pc:grpChg chg="del">
          <ac:chgData name="Tường SKHĐT" userId="ab9568c39a88b08a" providerId="LiveId" clId="{583D029E-5C15-4FB2-A6DE-F906E35414C7}" dt="2023-01-04T09:56:00.194" v="99" actId="21"/>
          <ac:grpSpMkLst>
            <pc:docMk/>
            <pc:sldMk cId="2479977582" sldId="2147473493"/>
            <ac:grpSpMk id="66" creationId="{00000000-0000-0000-0000-000000000000}"/>
          </ac:grpSpMkLst>
        </pc:grpChg>
        <pc:graphicFrameChg chg="add mod modGraphic">
          <ac:chgData name="Tường SKHĐT" userId="ab9568c39a88b08a" providerId="LiveId" clId="{583D029E-5C15-4FB2-A6DE-F906E35414C7}" dt="2023-01-04T10:03:47.638" v="364"/>
          <ac:graphicFrameMkLst>
            <pc:docMk/>
            <pc:sldMk cId="2479977582" sldId="2147473493"/>
            <ac:graphicFrameMk id="3" creationId="{E89A0590-BB61-E2EC-6BC9-07C5BC7029DC}"/>
          </ac:graphicFrameMkLst>
        </pc:graphicFrameChg>
      </pc:sldChg>
      <pc:sldChg chg="delSp modSp add mod">
        <pc:chgData name="Tường SKHĐT" userId="ab9568c39a88b08a" providerId="LiveId" clId="{583D029E-5C15-4FB2-A6DE-F906E35414C7}" dt="2023-01-04T10:13:30.549" v="781" actId="1076"/>
        <pc:sldMkLst>
          <pc:docMk/>
          <pc:sldMk cId="611726690" sldId="2147473494"/>
        </pc:sldMkLst>
        <pc:spChg chg="mod">
          <ac:chgData name="Tường SKHĐT" userId="ab9568c39a88b08a" providerId="LiveId" clId="{583D029E-5C15-4FB2-A6DE-F906E35414C7}" dt="2023-01-04T10:13:30.549" v="781" actId="1076"/>
          <ac:spMkLst>
            <pc:docMk/>
            <pc:sldMk cId="611726690" sldId="2147473494"/>
            <ac:spMk id="2" creationId="{5B782834-0385-35AC-5CF8-75244DDDF21A}"/>
          </ac:spMkLst>
        </pc:spChg>
        <pc:spChg chg="mod">
          <ac:chgData name="Tường SKHĐT" userId="ab9568c39a88b08a" providerId="LiveId" clId="{583D029E-5C15-4FB2-A6DE-F906E35414C7}" dt="2023-01-04T10:06:48.343" v="543" actId="20577"/>
          <ac:spMkLst>
            <pc:docMk/>
            <pc:sldMk cId="611726690" sldId="2147473494"/>
            <ac:spMk id="4" creationId="{16D24723-A233-03FF-2329-1817AB93339D}"/>
          </ac:spMkLst>
        </pc:spChg>
        <pc:spChg chg="del">
          <ac:chgData name="Tường SKHĐT" userId="ab9568c39a88b08a" providerId="LiveId" clId="{583D029E-5C15-4FB2-A6DE-F906E35414C7}" dt="2023-01-04T10:06:58.192" v="544" actId="21"/>
          <ac:spMkLst>
            <pc:docMk/>
            <pc:sldMk cId="611726690" sldId="2147473494"/>
            <ac:spMk id="5" creationId="{0388789B-20AA-F452-A414-510610E437A9}"/>
          </ac:spMkLst>
        </pc:spChg>
        <pc:spChg chg="mod">
          <ac:chgData name="Tường SKHĐT" userId="ab9568c39a88b08a" providerId="LiveId" clId="{583D029E-5C15-4FB2-A6DE-F906E35414C7}" dt="2023-01-04T10:13:30.549" v="781" actId="1076"/>
          <ac:spMkLst>
            <pc:docMk/>
            <pc:sldMk cId="611726690" sldId="2147473494"/>
            <ac:spMk id="43"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45"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46"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48" creationId="{00000000-0000-0000-0000-000000000000}"/>
          </ac:spMkLst>
        </pc:spChg>
        <pc:spChg chg="mod">
          <ac:chgData name="Tường SKHĐT" userId="ab9568c39a88b08a" providerId="LiveId" clId="{583D029E-5C15-4FB2-A6DE-F906E35414C7}" dt="2023-01-04T10:12:09.864" v="742" actId="1076"/>
          <ac:spMkLst>
            <pc:docMk/>
            <pc:sldMk cId="611726690" sldId="2147473494"/>
            <ac:spMk id="50" creationId="{00000000-0000-0000-0000-000000000000}"/>
          </ac:spMkLst>
        </pc:spChg>
        <pc:spChg chg="mod">
          <ac:chgData name="Tường SKHĐT" userId="ab9568c39a88b08a" providerId="LiveId" clId="{583D029E-5C15-4FB2-A6DE-F906E35414C7}" dt="2023-01-04T10:11:37.493" v="735" actId="1076"/>
          <ac:spMkLst>
            <pc:docMk/>
            <pc:sldMk cId="611726690" sldId="2147473494"/>
            <ac:spMk id="52" creationId="{00000000-0000-0000-0000-000000000000}"/>
          </ac:spMkLst>
        </pc:spChg>
        <pc:spChg chg="mod">
          <ac:chgData name="Tường SKHĐT" userId="ab9568c39a88b08a" providerId="LiveId" clId="{583D029E-5C15-4FB2-A6DE-F906E35414C7}" dt="2023-01-04T10:07:06.457" v="578" actId="1035"/>
          <ac:spMkLst>
            <pc:docMk/>
            <pc:sldMk cId="611726690" sldId="2147473494"/>
            <ac:spMk id="57" creationId="{00000000-0000-0000-0000-000000000000}"/>
          </ac:spMkLst>
        </pc:spChg>
        <pc:spChg chg="mod">
          <ac:chgData name="Tường SKHĐT" userId="ab9568c39a88b08a" providerId="LiveId" clId="{583D029E-5C15-4FB2-A6DE-F906E35414C7}" dt="2023-01-04T10:12:09.864" v="742" actId="1076"/>
          <ac:spMkLst>
            <pc:docMk/>
            <pc:sldMk cId="611726690" sldId="2147473494"/>
            <ac:spMk id="60" creationId="{00000000-0000-0000-0000-000000000000}"/>
          </ac:spMkLst>
        </pc:spChg>
        <pc:spChg chg="mod">
          <ac:chgData name="Tường SKHĐT" userId="ab9568c39a88b08a" providerId="LiveId" clId="{583D029E-5C15-4FB2-A6DE-F906E35414C7}" dt="2023-01-04T10:11:46.430" v="738" actId="1076"/>
          <ac:spMkLst>
            <pc:docMk/>
            <pc:sldMk cId="611726690" sldId="2147473494"/>
            <ac:spMk id="70" creationId="{00000000-0000-0000-0000-000000000000}"/>
          </ac:spMkLst>
        </pc:spChg>
        <pc:grpChg chg="mod">
          <ac:chgData name="Tường SKHĐT" userId="ab9568c39a88b08a" providerId="LiveId" clId="{583D029E-5C15-4FB2-A6DE-F906E35414C7}" dt="2023-01-04T10:07:06.457" v="578" actId="1035"/>
          <ac:grpSpMkLst>
            <pc:docMk/>
            <pc:sldMk cId="611726690" sldId="2147473494"/>
            <ac:grpSpMk id="44" creationId="{00000000-0000-0000-0000-000000000000}"/>
          </ac:grpSpMkLst>
        </pc:grpChg>
        <pc:cxnChg chg="mod">
          <ac:chgData name="Tường SKHĐT" userId="ab9568c39a88b08a" providerId="LiveId" clId="{583D029E-5C15-4FB2-A6DE-F906E35414C7}" dt="2023-01-04T10:12:14.899" v="743" actId="14100"/>
          <ac:cxnSpMkLst>
            <pc:docMk/>
            <pc:sldMk cId="611726690" sldId="2147473494"/>
            <ac:cxnSpMk id="6" creationId="{FF705920-E1B4-B4D0-9EA4-A27AA5761577}"/>
          </ac:cxnSpMkLst>
        </pc:cxnChg>
      </pc:sldChg>
      <pc:sldChg chg="modSp mod">
        <pc:chgData name="Tường SKHĐT" userId="ab9568c39a88b08a" providerId="LiveId" clId="{583D029E-5C15-4FB2-A6DE-F906E35414C7}" dt="2023-01-05T09:26:19.342" v="1283" actId="14100"/>
        <pc:sldMkLst>
          <pc:docMk/>
          <pc:sldMk cId="517205925" sldId="2147473498"/>
        </pc:sldMkLst>
        <pc:spChg chg="mod">
          <ac:chgData name="Tường SKHĐT" userId="ab9568c39a88b08a" providerId="LiveId" clId="{583D029E-5C15-4FB2-A6DE-F906E35414C7}" dt="2023-01-05T09:26:15.674" v="1282" actId="14100"/>
          <ac:spMkLst>
            <pc:docMk/>
            <pc:sldMk cId="517205925" sldId="2147473498"/>
            <ac:spMk id="4" creationId="{16D24723-A233-03FF-2329-1817AB93339D}"/>
          </ac:spMkLst>
        </pc:spChg>
        <pc:cxnChg chg="mod">
          <ac:chgData name="Tường SKHĐT" userId="ab9568c39a88b08a" providerId="LiveId" clId="{583D029E-5C15-4FB2-A6DE-F906E35414C7}" dt="2023-01-05T09:26:19.342" v="1283" actId="14100"/>
          <ac:cxnSpMkLst>
            <pc:docMk/>
            <pc:sldMk cId="517205925" sldId="2147473498"/>
            <ac:cxnSpMk id="6" creationId="{FF705920-E1B4-B4D0-9EA4-A27AA5761577}"/>
          </ac:cxnSpMkLst>
        </pc:cxnChg>
      </pc:sldChg>
      <pc:sldChg chg="modSp mod">
        <pc:chgData name="Tường SKHĐT" userId="ab9568c39a88b08a" providerId="LiveId" clId="{583D029E-5C15-4FB2-A6DE-F906E35414C7}" dt="2023-01-05T09:26:34.784" v="1311" actId="14100"/>
        <pc:sldMkLst>
          <pc:docMk/>
          <pc:sldMk cId="4071845434" sldId="2147473499"/>
        </pc:sldMkLst>
        <pc:spChg chg="mod">
          <ac:chgData name="Tường SKHĐT" userId="ab9568c39a88b08a" providerId="LiveId" clId="{583D029E-5C15-4FB2-A6DE-F906E35414C7}" dt="2023-01-05T09:26:32.364" v="1310" actId="14100"/>
          <ac:spMkLst>
            <pc:docMk/>
            <pc:sldMk cId="4071845434" sldId="2147473499"/>
            <ac:spMk id="4" creationId="{16D24723-A233-03FF-2329-1817AB93339D}"/>
          </ac:spMkLst>
        </pc:spChg>
        <pc:cxnChg chg="mod">
          <ac:chgData name="Tường SKHĐT" userId="ab9568c39a88b08a" providerId="LiveId" clId="{583D029E-5C15-4FB2-A6DE-F906E35414C7}" dt="2023-01-05T09:26:34.784" v="1311" actId="14100"/>
          <ac:cxnSpMkLst>
            <pc:docMk/>
            <pc:sldMk cId="4071845434" sldId="2147473499"/>
            <ac:cxnSpMk id="6" creationId="{FF705920-E1B4-B4D0-9EA4-A27AA5761577}"/>
          </ac:cxnSpMkLst>
        </pc:cxnChg>
      </pc:sldChg>
      <pc:sldChg chg="modSp mod">
        <pc:chgData name="Tường SKHĐT" userId="ab9568c39a88b08a" providerId="LiveId" clId="{583D029E-5C15-4FB2-A6DE-F906E35414C7}" dt="2023-01-05T09:26:49.644" v="1341" actId="14100"/>
        <pc:sldMkLst>
          <pc:docMk/>
          <pc:sldMk cId="3215727463" sldId="2147473500"/>
        </pc:sldMkLst>
        <pc:spChg chg="mod">
          <ac:chgData name="Tường SKHĐT" userId="ab9568c39a88b08a" providerId="LiveId" clId="{583D029E-5C15-4FB2-A6DE-F906E35414C7}" dt="2023-01-05T09:26:46.070" v="1340" actId="14100"/>
          <ac:spMkLst>
            <pc:docMk/>
            <pc:sldMk cId="3215727463" sldId="2147473500"/>
            <ac:spMk id="4" creationId="{16D24723-A233-03FF-2329-1817AB93339D}"/>
          </ac:spMkLst>
        </pc:spChg>
        <pc:graphicFrameChg chg="mod">
          <ac:chgData name="Tường SKHĐT" userId="ab9568c39a88b08a" providerId="LiveId" clId="{583D029E-5C15-4FB2-A6DE-F906E35414C7}" dt="2023-01-05T09:24:25.849" v="1233" actId="20577"/>
          <ac:graphicFrameMkLst>
            <pc:docMk/>
            <pc:sldMk cId="3215727463" sldId="2147473500"/>
            <ac:graphicFrameMk id="16" creationId="{F09E3A7B-07B6-CA30-1478-0A37F48EB298}"/>
          </ac:graphicFrameMkLst>
        </pc:graphicFrameChg>
        <pc:cxnChg chg="mod">
          <ac:chgData name="Tường SKHĐT" userId="ab9568c39a88b08a" providerId="LiveId" clId="{583D029E-5C15-4FB2-A6DE-F906E35414C7}" dt="2023-01-05T09:26:49.644" v="1341" actId="14100"/>
          <ac:cxnSpMkLst>
            <pc:docMk/>
            <pc:sldMk cId="3215727463" sldId="2147473500"/>
            <ac:cxnSpMk id="6" creationId="{FF705920-E1B4-B4D0-9EA4-A27AA5761577}"/>
          </ac:cxnSpMkLst>
        </pc:cxnChg>
      </pc:sldChg>
      <pc:sldChg chg="modSp mod">
        <pc:chgData name="Tường SKHĐT" userId="ab9568c39a88b08a" providerId="LiveId" clId="{583D029E-5C15-4FB2-A6DE-F906E35414C7}" dt="2023-01-05T09:27:01.833" v="1369" actId="14100"/>
        <pc:sldMkLst>
          <pc:docMk/>
          <pc:sldMk cId="1680809982" sldId="2147473501"/>
        </pc:sldMkLst>
        <pc:spChg chg="mod">
          <ac:chgData name="Tường SKHĐT" userId="ab9568c39a88b08a" providerId="LiveId" clId="{583D029E-5C15-4FB2-A6DE-F906E35414C7}" dt="2023-01-05T09:26:57.952" v="1368" actId="14100"/>
          <ac:spMkLst>
            <pc:docMk/>
            <pc:sldMk cId="1680809982" sldId="2147473501"/>
            <ac:spMk id="4" creationId="{16D24723-A233-03FF-2329-1817AB93339D}"/>
          </ac:spMkLst>
        </pc:spChg>
        <pc:cxnChg chg="mod">
          <ac:chgData name="Tường SKHĐT" userId="ab9568c39a88b08a" providerId="LiveId" clId="{583D029E-5C15-4FB2-A6DE-F906E35414C7}" dt="2023-01-05T09:27:01.833" v="1369" actId="14100"/>
          <ac:cxnSpMkLst>
            <pc:docMk/>
            <pc:sldMk cId="1680809982" sldId="2147473501"/>
            <ac:cxnSpMk id="6" creationId="{FF705920-E1B4-B4D0-9EA4-A27AA5761577}"/>
          </ac:cxnSpMkLst>
        </pc:cxnChg>
      </pc:sldChg>
      <pc:sldChg chg="modSp mod">
        <pc:chgData name="Tường SKHĐT" userId="ab9568c39a88b08a" providerId="LiveId" clId="{583D029E-5C15-4FB2-A6DE-F906E35414C7}" dt="2023-01-05T09:28:29.900" v="1501" actId="14100"/>
        <pc:sldMkLst>
          <pc:docMk/>
          <pc:sldMk cId="1302223711" sldId="2147473504"/>
        </pc:sldMkLst>
        <pc:spChg chg="mod">
          <ac:chgData name="Tường SKHĐT" userId="ab9568c39a88b08a" providerId="LiveId" clId="{583D029E-5C15-4FB2-A6DE-F906E35414C7}" dt="2023-01-05T09:28:26.514" v="1500" actId="14100"/>
          <ac:spMkLst>
            <pc:docMk/>
            <pc:sldMk cId="1302223711" sldId="2147473504"/>
            <ac:spMk id="4" creationId="{16D24723-A233-03FF-2329-1817AB93339D}"/>
          </ac:spMkLst>
        </pc:spChg>
        <pc:cxnChg chg="mod">
          <ac:chgData name="Tường SKHĐT" userId="ab9568c39a88b08a" providerId="LiveId" clId="{583D029E-5C15-4FB2-A6DE-F906E35414C7}" dt="2023-01-05T09:28:29.900" v="1501" actId="14100"/>
          <ac:cxnSpMkLst>
            <pc:docMk/>
            <pc:sldMk cId="1302223711" sldId="2147473504"/>
            <ac:cxnSpMk id="6" creationId="{FF705920-E1B4-B4D0-9EA4-A27AA5761577}"/>
          </ac:cxnSpMkLst>
        </pc:cxnChg>
      </pc:sldChg>
      <pc:sldChg chg="modSp mod">
        <pc:chgData name="Tường SKHĐT" userId="ab9568c39a88b08a" providerId="LiveId" clId="{583D029E-5C15-4FB2-A6DE-F906E35414C7}" dt="2023-01-05T09:27:58.910" v="1439" actId="14100"/>
        <pc:sldMkLst>
          <pc:docMk/>
          <pc:sldMk cId="1098375856" sldId="2147473511"/>
        </pc:sldMkLst>
        <pc:spChg chg="mod">
          <ac:chgData name="Tường SKHĐT" userId="ab9568c39a88b08a" providerId="LiveId" clId="{583D029E-5C15-4FB2-A6DE-F906E35414C7}" dt="2023-01-05T09:27:55.776" v="1438" actId="14100"/>
          <ac:spMkLst>
            <pc:docMk/>
            <pc:sldMk cId="1098375856" sldId="2147473511"/>
            <ac:spMk id="4" creationId="{16D24723-A233-03FF-2329-1817AB93339D}"/>
          </ac:spMkLst>
        </pc:spChg>
        <pc:cxnChg chg="mod">
          <ac:chgData name="Tường SKHĐT" userId="ab9568c39a88b08a" providerId="LiveId" clId="{583D029E-5C15-4FB2-A6DE-F906E35414C7}" dt="2023-01-05T09:27:58.910" v="1439" actId="14100"/>
          <ac:cxnSpMkLst>
            <pc:docMk/>
            <pc:sldMk cId="1098375856" sldId="2147473511"/>
            <ac:cxnSpMk id="6" creationId="{FF705920-E1B4-B4D0-9EA4-A27AA5761577}"/>
          </ac:cxnSpMkLst>
        </pc:cxnChg>
      </pc:sldChg>
      <pc:sldChg chg="addSp delSp modSp mod">
        <pc:chgData name="Tường SKHĐT" userId="ab9568c39a88b08a" providerId="LiveId" clId="{583D029E-5C15-4FB2-A6DE-F906E35414C7}" dt="2023-01-05T09:28:16.132" v="1467" actId="14100"/>
        <pc:sldMkLst>
          <pc:docMk/>
          <pc:sldMk cId="3883905374" sldId="2147473512"/>
        </pc:sldMkLst>
        <pc:spChg chg="mod">
          <ac:chgData name="Tường SKHĐT" userId="ab9568c39a88b08a" providerId="LiveId" clId="{583D029E-5C15-4FB2-A6DE-F906E35414C7}" dt="2023-01-05T09:28:08.734" v="1466" actId="14100"/>
          <ac:spMkLst>
            <pc:docMk/>
            <pc:sldMk cId="3883905374" sldId="2147473512"/>
            <ac:spMk id="4" creationId="{16D24723-A233-03FF-2329-1817AB93339D}"/>
          </ac:spMkLst>
        </pc:spChg>
        <pc:picChg chg="mod">
          <ac:chgData name="Tường SKHĐT" userId="ab9568c39a88b08a" providerId="LiveId" clId="{583D029E-5C15-4FB2-A6DE-F906E35414C7}" dt="2023-01-05T09:00:37.139" v="989" actId="1076"/>
          <ac:picMkLst>
            <pc:docMk/>
            <pc:sldMk cId="3883905374" sldId="2147473512"/>
            <ac:picMk id="3" creationId="{DD9175C4-E122-5875-17D7-03639C1ACB2B}"/>
          </ac:picMkLst>
        </pc:picChg>
        <pc:picChg chg="del">
          <ac:chgData name="Tường SKHĐT" userId="ab9568c39a88b08a" providerId="LiveId" clId="{583D029E-5C15-4FB2-A6DE-F906E35414C7}" dt="2023-01-05T08:59:54.692" v="981" actId="21"/>
          <ac:picMkLst>
            <pc:docMk/>
            <pc:sldMk cId="3883905374" sldId="2147473512"/>
            <ac:picMk id="5" creationId="{527C9105-D4C6-2A64-50F4-4AE13D60F2A1}"/>
          </ac:picMkLst>
        </pc:picChg>
        <pc:picChg chg="add mod">
          <ac:chgData name="Tường SKHĐT" userId="ab9568c39a88b08a" providerId="LiveId" clId="{583D029E-5C15-4FB2-A6DE-F906E35414C7}" dt="2023-01-05T09:00:31.749" v="988" actId="1076"/>
          <ac:picMkLst>
            <pc:docMk/>
            <pc:sldMk cId="3883905374" sldId="2147473512"/>
            <ac:picMk id="8" creationId="{67FFF0AD-2B2B-098C-EA0B-72365E44493E}"/>
          </ac:picMkLst>
        </pc:picChg>
        <pc:cxnChg chg="mod">
          <ac:chgData name="Tường SKHĐT" userId="ab9568c39a88b08a" providerId="LiveId" clId="{583D029E-5C15-4FB2-A6DE-F906E35414C7}" dt="2023-01-05T09:28:16.132" v="1467" actId="14100"/>
          <ac:cxnSpMkLst>
            <pc:docMk/>
            <pc:sldMk cId="3883905374" sldId="2147473512"/>
            <ac:cxnSpMk id="6" creationId="{FF705920-E1B4-B4D0-9EA4-A27AA5761577}"/>
          </ac:cxnSpMkLst>
        </pc:cxnChg>
      </pc:sldChg>
      <pc:sldChg chg="modSp mod">
        <pc:chgData name="Tường SKHĐT" userId="ab9568c39a88b08a" providerId="LiveId" clId="{583D029E-5C15-4FB2-A6DE-F906E35414C7}" dt="2023-01-05T09:16:45.140" v="1216" actId="20577"/>
        <pc:sldMkLst>
          <pc:docMk/>
          <pc:sldMk cId="3554211324" sldId="2147473513"/>
        </pc:sldMkLst>
        <pc:spChg chg="mod">
          <ac:chgData name="Tường SKHĐT" userId="ab9568c39a88b08a" providerId="LiveId" clId="{583D029E-5C15-4FB2-A6DE-F906E35414C7}" dt="2023-01-05T09:13:20.797" v="1050" actId="1036"/>
          <ac:spMkLst>
            <pc:docMk/>
            <pc:sldMk cId="3554211324" sldId="2147473513"/>
            <ac:spMk id="18" creationId="{21245A2C-03CB-6DE8-D086-6E728FD99907}"/>
          </ac:spMkLst>
        </pc:spChg>
        <pc:spChg chg="mod">
          <ac:chgData name="Tường SKHĐT" userId="ab9568c39a88b08a" providerId="LiveId" clId="{583D029E-5C15-4FB2-A6DE-F906E35414C7}" dt="2023-01-05T09:14:22.569" v="1131" actId="6549"/>
          <ac:spMkLst>
            <pc:docMk/>
            <pc:sldMk cId="3554211324" sldId="2147473513"/>
            <ac:spMk id="32" creationId="{5F5AB2AB-C6F7-20F0-B98F-DFD31A693985}"/>
          </ac:spMkLst>
        </pc:spChg>
        <pc:spChg chg="mod">
          <ac:chgData name="Tường SKHĐT" userId="ab9568c39a88b08a" providerId="LiveId" clId="{583D029E-5C15-4FB2-A6DE-F906E35414C7}" dt="2023-01-05T09:16:45.140" v="1216" actId="20577"/>
          <ac:spMkLst>
            <pc:docMk/>
            <pc:sldMk cId="3554211324" sldId="2147473513"/>
            <ac:spMk id="41" creationId="{58A27EB2-CD96-EAE0-712E-B29BA01F0FF2}"/>
          </ac:spMkLst>
        </pc:spChg>
        <pc:cxnChg chg="mod">
          <ac:chgData name="Tường SKHĐT" userId="ab9568c39a88b08a" providerId="LiveId" clId="{583D029E-5C15-4FB2-A6DE-F906E35414C7}" dt="2023-01-05T09:13:23.424" v="1055" actId="1036"/>
          <ac:cxnSpMkLst>
            <pc:docMk/>
            <pc:sldMk cId="3554211324" sldId="2147473513"/>
            <ac:cxnSpMk id="23" creationId="{892F6A17-4112-5F31-C56A-9B185E710C59}"/>
          </ac:cxnSpMkLst>
        </pc:cxnChg>
      </pc:sldChg>
    </pc:docChg>
  </pc:docChgLst>
  <pc:docChgLst>
    <pc:chgData name="Tường SKHĐT" userId="ab9568c39a88b08a" providerId="LiveId" clId="{04B915F6-82C3-461C-A009-4E83932BA335}"/>
    <pc:docChg chg="undo custSel addSld delSld modSld">
      <pc:chgData name="Tường SKHĐT" userId="ab9568c39a88b08a" providerId="LiveId" clId="{04B915F6-82C3-461C-A009-4E83932BA335}" dt="2023-02-10T10:05:34.574" v="2228" actId="1076"/>
      <pc:docMkLst>
        <pc:docMk/>
      </pc:docMkLst>
      <pc:sldChg chg="modSp mod">
        <pc:chgData name="Tường SKHĐT" userId="ab9568c39a88b08a" providerId="LiveId" clId="{04B915F6-82C3-461C-A009-4E83932BA335}" dt="2023-02-03T08:09:34.909" v="838" actId="20577"/>
        <pc:sldMkLst>
          <pc:docMk/>
          <pc:sldMk cId="1596329165" sldId="455"/>
        </pc:sldMkLst>
        <pc:spChg chg="mod">
          <ac:chgData name="Tường SKHĐT" userId="ab9568c39a88b08a" providerId="LiveId" clId="{04B915F6-82C3-461C-A009-4E83932BA335}" dt="2023-02-03T08:09:34.909" v="838" actId="20577"/>
          <ac:spMkLst>
            <pc:docMk/>
            <pc:sldMk cId="1596329165" sldId="455"/>
            <ac:spMk id="27" creationId="{87251008-0654-48EC-B85B-8EA2BB576990}"/>
          </ac:spMkLst>
        </pc:spChg>
      </pc:sldChg>
      <pc:sldChg chg="modSp mod">
        <pc:chgData name="Tường SKHĐT" userId="ab9568c39a88b08a" providerId="LiveId" clId="{04B915F6-82C3-461C-A009-4E83932BA335}" dt="2023-02-03T08:08:55.356" v="836" actId="20577"/>
        <pc:sldMkLst>
          <pc:docMk/>
          <pc:sldMk cId="348917705" sldId="482"/>
        </pc:sldMkLst>
        <pc:graphicFrameChg chg="modGraphic">
          <ac:chgData name="Tường SKHĐT" userId="ab9568c39a88b08a" providerId="LiveId" clId="{04B915F6-82C3-461C-A009-4E83932BA335}" dt="2023-02-03T08:08:55.356" v="836" actId="20577"/>
          <ac:graphicFrameMkLst>
            <pc:docMk/>
            <pc:sldMk cId="348917705" sldId="482"/>
            <ac:graphicFrameMk id="7" creationId="{44FD6820-12F5-8C73-583C-7D9F46E04367}"/>
          </ac:graphicFrameMkLst>
        </pc:graphicFrameChg>
      </pc:sldChg>
      <pc:sldChg chg="modSp mod">
        <pc:chgData name="Tường SKHĐT" userId="ab9568c39a88b08a" providerId="LiveId" clId="{04B915F6-82C3-461C-A009-4E83932BA335}" dt="2023-02-03T07:46:14.353" v="250" actId="207"/>
        <pc:sldMkLst>
          <pc:docMk/>
          <pc:sldMk cId="4051799181" sldId="483"/>
        </pc:sldMkLst>
        <pc:graphicFrameChg chg="modGraphic">
          <ac:chgData name="Tường SKHĐT" userId="ab9568c39a88b08a" providerId="LiveId" clId="{04B915F6-82C3-461C-A009-4E83932BA335}" dt="2023-02-03T07:46:14.353" v="250" actId="207"/>
          <ac:graphicFrameMkLst>
            <pc:docMk/>
            <pc:sldMk cId="4051799181" sldId="483"/>
            <ac:graphicFrameMk id="2" creationId="{E76DB986-E2D7-83CD-133B-774E10731A3B}"/>
          </ac:graphicFrameMkLst>
        </pc:graphicFrameChg>
      </pc:sldChg>
      <pc:sldChg chg="modSp mod">
        <pc:chgData name="Tường SKHĐT" userId="ab9568c39a88b08a" providerId="LiveId" clId="{04B915F6-82C3-461C-A009-4E83932BA335}" dt="2023-02-03T09:00:56.608" v="1658" actId="20577"/>
        <pc:sldMkLst>
          <pc:docMk/>
          <pc:sldMk cId="914573862" sldId="2147473474"/>
        </pc:sldMkLst>
        <pc:spChg chg="mod">
          <ac:chgData name="Tường SKHĐT" userId="ab9568c39a88b08a" providerId="LiveId" clId="{04B915F6-82C3-461C-A009-4E83932BA335}" dt="2023-02-03T09:00:56.608" v="1658" actId="20577"/>
          <ac:spMkLst>
            <pc:docMk/>
            <pc:sldMk cId="914573862" sldId="2147473474"/>
            <ac:spMk id="3" creationId="{D56CE58D-FB5F-1D10-4BAF-E7B0E8BB9294}"/>
          </ac:spMkLst>
        </pc:spChg>
        <pc:graphicFrameChg chg="mod modGraphic">
          <ac:chgData name="Tường SKHĐT" userId="ab9568c39a88b08a" providerId="LiveId" clId="{04B915F6-82C3-461C-A009-4E83932BA335}" dt="2023-02-03T08:00:05.972" v="615" actId="20577"/>
          <ac:graphicFrameMkLst>
            <pc:docMk/>
            <pc:sldMk cId="914573862" sldId="2147473474"/>
            <ac:graphicFrameMk id="2" creationId="{A091C242-D65F-E0C5-16D6-B15756DA14A6}"/>
          </ac:graphicFrameMkLst>
        </pc:graphicFrameChg>
      </pc:sldChg>
      <pc:sldChg chg="addSp delSp modSp add mod">
        <pc:chgData name="Tường SKHĐT" userId="ab9568c39a88b08a" providerId="LiveId" clId="{04B915F6-82C3-461C-A009-4E83932BA335}" dt="2023-02-10T09:21:07.711" v="1827" actId="207"/>
        <pc:sldMkLst>
          <pc:docMk/>
          <pc:sldMk cId="2493111141" sldId="2147473475"/>
        </pc:sldMkLst>
        <pc:spChg chg="add mod">
          <ac:chgData name="Tường SKHĐT" userId="ab9568c39a88b08a" providerId="LiveId" clId="{04B915F6-82C3-461C-A009-4E83932BA335}" dt="2023-02-03T09:00:22.941" v="1655"/>
          <ac:spMkLst>
            <pc:docMk/>
            <pc:sldMk cId="2493111141" sldId="2147473475"/>
            <ac:spMk id="2" creationId="{61F4234D-AA38-24F8-B7F2-39F309ECF60F}"/>
          </ac:spMkLst>
        </pc:spChg>
        <pc:spChg chg="add mod">
          <ac:chgData name="Tường SKHĐT" userId="ab9568c39a88b08a" providerId="LiveId" clId="{04B915F6-82C3-461C-A009-4E83932BA335}" dt="2023-02-03T09:00:22.941" v="1655"/>
          <ac:spMkLst>
            <pc:docMk/>
            <pc:sldMk cId="2493111141" sldId="2147473475"/>
            <ac:spMk id="4" creationId="{87E54AFD-237F-3809-5E2F-16D4370EC864}"/>
          </ac:spMkLst>
        </pc:spChg>
        <pc:spChg chg="add mod">
          <ac:chgData name="Tường SKHĐT" userId="ab9568c39a88b08a" providerId="LiveId" clId="{04B915F6-82C3-461C-A009-4E83932BA335}" dt="2023-02-10T09:21:07.711" v="1827" actId="207"/>
          <ac:spMkLst>
            <pc:docMk/>
            <pc:sldMk cId="2493111141" sldId="2147473475"/>
            <ac:spMk id="5" creationId="{8C9B5B1C-DCBB-3B0A-1820-9B971B6AC38B}"/>
          </ac:spMkLst>
        </pc:spChg>
        <pc:spChg chg="del">
          <ac:chgData name="Tường SKHĐT" userId="ab9568c39a88b08a" providerId="LiveId" clId="{04B915F6-82C3-461C-A009-4E83932BA335}" dt="2023-02-03T09:00:01.235" v="1645" actId="21"/>
          <ac:spMkLst>
            <pc:docMk/>
            <pc:sldMk cId="2493111141" sldId="2147473475"/>
            <ac:spMk id="11" creationId="{00000000-0000-0000-0000-000000000000}"/>
          </ac:spMkLst>
        </pc:spChg>
        <pc:picChg chg="del">
          <ac:chgData name="Tường SKHĐT" userId="ab9568c39a88b08a" providerId="LiveId" clId="{04B915F6-82C3-461C-A009-4E83932BA335}" dt="2023-02-03T08:58:31.216" v="1588" actId="21"/>
          <ac:picMkLst>
            <pc:docMk/>
            <pc:sldMk cId="2493111141" sldId="2147473475"/>
            <ac:picMk id="3076" creationId="{00000000-0000-0000-0000-000000000000}"/>
          </ac:picMkLst>
        </pc:picChg>
        <pc:cxnChg chg="add mod">
          <ac:chgData name="Tường SKHĐT" userId="ab9568c39a88b08a" providerId="LiveId" clId="{04B915F6-82C3-461C-A009-4E83932BA335}" dt="2023-02-03T09:00:22.941" v="1655"/>
          <ac:cxnSpMkLst>
            <pc:docMk/>
            <pc:sldMk cId="2493111141" sldId="2147473475"/>
            <ac:cxnSpMk id="3" creationId="{B1266C7B-6155-6B1F-D2AE-527DF254E05C}"/>
          </ac:cxnSpMkLst>
        </pc:cxnChg>
      </pc:sldChg>
      <pc:sldChg chg="modSp mod">
        <pc:chgData name="Tường SKHĐT" userId="ab9568c39a88b08a" providerId="LiveId" clId="{04B915F6-82C3-461C-A009-4E83932BA335}" dt="2023-02-03T09:00:58.451" v="1659" actId="20577"/>
        <pc:sldMkLst>
          <pc:docMk/>
          <pc:sldMk cId="3133831680" sldId="2147473476"/>
        </pc:sldMkLst>
        <pc:spChg chg="mod">
          <ac:chgData name="Tường SKHĐT" userId="ab9568c39a88b08a" providerId="LiveId" clId="{04B915F6-82C3-461C-A009-4E83932BA335}" dt="2023-02-03T09:00:58.451" v="1659" actId="20577"/>
          <ac:spMkLst>
            <pc:docMk/>
            <pc:sldMk cId="3133831680" sldId="2147473476"/>
            <ac:spMk id="3" creationId="{D56CE58D-FB5F-1D10-4BAF-E7B0E8BB9294}"/>
          </ac:spMkLst>
        </pc:spChg>
        <pc:graphicFrameChg chg="mod">
          <ac:chgData name="Tường SKHĐT" userId="ab9568c39a88b08a" providerId="LiveId" clId="{04B915F6-82C3-461C-A009-4E83932BA335}" dt="2023-02-03T08:02:01.946" v="674" actId="108"/>
          <ac:graphicFrameMkLst>
            <pc:docMk/>
            <pc:sldMk cId="3133831680" sldId="2147473476"/>
            <ac:graphicFrameMk id="2" creationId="{A091C242-D65F-E0C5-16D6-B15756DA14A6}"/>
          </ac:graphicFrameMkLst>
        </pc:graphicFrameChg>
        <pc:cxnChg chg="mod">
          <ac:chgData name="Tường SKHĐT" userId="ab9568c39a88b08a" providerId="LiveId" clId="{04B915F6-82C3-461C-A009-4E83932BA335}" dt="2023-01-30T07:14:18.218" v="15" actId="14100"/>
          <ac:cxnSpMkLst>
            <pc:docMk/>
            <pc:sldMk cId="3133831680" sldId="2147473476"/>
            <ac:cxnSpMk id="6" creationId="{AF18982B-1EB8-38FB-804F-68378B0CB0EE}"/>
          </ac:cxnSpMkLst>
        </pc:cxnChg>
      </pc:sldChg>
      <pc:sldChg chg="addSp delSp modSp add mod">
        <pc:chgData name="Tường SKHĐT" userId="ab9568c39a88b08a" providerId="LiveId" clId="{04B915F6-82C3-461C-A009-4E83932BA335}" dt="2023-02-10T09:23:46.259" v="1828"/>
        <pc:sldMkLst>
          <pc:docMk/>
          <pc:sldMk cId="3018443611" sldId="2147473483"/>
        </pc:sldMkLst>
        <pc:spChg chg="add mod">
          <ac:chgData name="Tường SKHĐT" userId="ab9568c39a88b08a" providerId="LiveId" clId="{04B915F6-82C3-461C-A009-4E83932BA335}" dt="2023-02-03T09:00:24.402" v="1656"/>
          <ac:spMkLst>
            <pc:docMk/>
            <pc:sldMk cId="3018443611" sldId="2147473483"/>
            <ac:spMk id="2" creationId="{AB6AE141-6602-ABCA-54A1-A5AF7069F944}"/>
          </ac:spMkLst>
        </pc:spChg>
        <pc:spChg chg="add mod">
          <ac:chgData name="Tường SKHĐT" userId="ab9568c39a88b08a" providerId="LiveId" clId="{04B915F6-82C3-461C-A009-4E83932BA335}" dt="2023-02-03T09:00:24.402" v="1656"/>
          <ac:spMkLst>
            <pc:docMk/>
            <pc:sldMk cId="3018443611" sldId="2147473483"/>
            <ac:spMk id="4" creationId="{099B505F-D65A-C6D0-F9D8-CA2837DD8962}"/>
          </ac:spMkLst>
        </pc:spChg>
        <pc:spChg chg="add mod">
          <ac:chgData name="Tường SKHĐT" userId="ab9568c39a88b08a" providerId="LiveId" clId="{04B915F6-82C3-461C-A009-4E83932BA335}" dt="2023-02-10T09:23:46.259" v="1828"/>
          <ac:spMkLst>
            <pc:docMk/>
            <pc:sldMk cId="3018443611" sldId="2147473483"/>
            <ac:spMk id="5" creationId="{1BB6FA3B-B86E-19C7-1065-B913A7974B58}"/>
          </ac:spMkLst>
        </pc:spChg>
        <pc:spChg chg="del">
          <ac:chgData name="Tường SKHĐT" userId="ab9568c39a88b08a" providerId="LiveId" clId="{04B915F6-82C3-461C-A009-4E83932BA335}" dt="2023-02-03T09:00:04.400" v="1646" actId="21"/>
          <ac:spMkLst>
            <pc:docMk/>
            <pc:sldMk cId="3018443611" sldId="2147473483"/>
            <ac:spMk id="11" creationId="{00000000-0000-0000-0000-000000000000}"/>
          </ac:spMkLst>
        </pc:spChg>
        <pc:picChg chg="del">
          <ac:chgData name="Tường SKHĐT" userId="ab9568c39a88b08a" providerId="LiveId" clId="{04B915F6-82C3-461C-A009-4E83932BA335}" dt="2023-02-03T08:58:32.980" v="1589" actId="21"/>
          <ac:picMkLst>
            <pc:docMk/>
            <pc:sldMk cId="3018443611" sldId="2147473483"/>
            <ac:picMk id="12290" creationId="{00000000-0000-0000-0000-000000000000}"/>
          </ac:picMkLst>
        </pc:picChg>
        <pc:cxnChg chg="add mod">
          <ac:chgData name="Tường SKHĐT" userId="ab9568c39a88b08a" providerId="LiveId" clId="{04B915F6-82C3-461C-A009-4E83932BA335}" dt="2023-02-03T09:00:24.402" v="1656"/>
          <ac:cxnSpMkLst>
            <pc:docMk/>
            <pc:sldMk cId="3018443611" sldId="2147473483"/>
            <ac:cxnSpMk id="3" creationId="{3D0D57A6-EC62-52CC-ACF6-10537F66BD40}"/>
          </ac:cxnSpMkLst>
        </pc:cxnChg>
      </pc:sldChg>
      <pc:sldChg chg="addSp delSp modSp add mod">
        <pc:chgData name="Tường SKHĐT" userId="ab9568c39a88b08a" providerId="LiveId" clId="{04B915F6-82C3-461C-A009-4E83932BA335}" dt="2023-02-10T10:04:20.648" v="2220" actId="1076"/>
        <pc:sldMkLst>
          <pc:docMk/>
          <pc:sldMk cId="133525499" sldId="2147473484"/>
        </pc:sldMkLst>
        <pc:spChg chg="add mod">
          <ac:chgData name="Tường SKHĐT" userId="ab9568c39a88b08a" providerId="LiveId" clId="{04B915F6-82C3-461C-A009-4E83932BA335}" dt="2023-02-03T09:00:25.617" v="1657"/>
          <ac:spMkLst>
            <pc:docMk/>
            <pc:sldMk cId="133525499" sldId="2147473484"/>
            <ac:spMk id="2" creationId="{CF18B5B6-CEE6-F0FB-8EA0-DB5BB76A01AA}"/>
          </ac:spMkLst>
        </pc:spChg>
        <pc:spChg chg="add mod">
          <ac:chgData name="Tường SKHĐT" userId="ab9568c39a88b08a" providerId="LiveId" clId="{04B915F6-82C3-461C-A009-4E83932BA335}" dt="2023-02-03T09:00:25.617" v="1657"/>
          <ac:spMkLst>
            <pc:docMk/>
            <pc:sldMk cId="133525499" sldId="2147473484"/>
            <ac:spMk id="4" creationId="{A55F117B-E0F3-F5D0-B64C-EF189F0477ED}"/>
          </ac:spMkLst>
        </pc:spChg>
        <pc:spChg chg="mod">
          <ac:chgData name="Tường SKHĐT" userId="ab9568c39a88b08a" providerId="LiveId" clId="{04B915F6-82C3-461C-A009-4E83932BA335}" dt="2023-02-10T10:03:52.796" v="2212" actId="14100"/>
          <ac:spMkLst>
            <pc:docMk/>
            <pc:sldMk cId="133525499" sldId="2147473484"/>
            <ac:spMk id="9" creationId="{4219F808-181B-0133-F1E0-2E11448658B7}"/>
          </ac:spMkLst>
        </pc:spChg>
        <pc:spChg chg="del">
          <ac:chgData name="Tường SKHĐT" userId="ab9568c39a88b08a" providerId="LiveId" clId="{04B915F6-82C3-461C-A009-4E83932BA335}" dt="2023-02-03T09:00:07.287" v="1647" actId="21"/>
          <ac:spMkLst>
            <pc:docMk/>
            <pc:sldMk cId="133525499" sldId="2147473484"/>
            <ac:spMk id="11" creationId="{00000000-0000-0000-0000-000000000000}"/>
          </ac:spMkLst>
        </pc:spChg>
        <pc:graphicFrameChg chg="add del mod">
          <ac:chgData name="Tường SKHĐT" userId="ab9568c39a88b08a" providerId="LiveId" clId="{04B915F6-82C3-461C-A009-4E83932BA335}" dt="2023-02-10T09:53:43.192" v="2018" actId="21"/>
          <ac:graphicFrameMkLst>
            <pc:docMk/>
            <pc:sldMk cId="133525499" sldId="2147473484"/>
            <ac:graphicFrameMk id="5" creationId="{4D3B5242-9CCF-19AA-0911-132598A298AD}"/>
          </ac:graphicFrameMkLst>
        </pc:graphicFrameChg>
        <pc:graphicFrameChg chg="add mod">
          <ac:chgData name="Tường SKHĐT" userId="ab9568c39a88b08a" providerId="LiveId" clId="{04B915F6-82C3-461C-A009-4E83932BA335}" dt="2023-02-10T10:04:20.648" v="2220" actId="1076"/>
          <ac:graphicFrameMkLst>
            <pc:docMk/>
            <pc:sldMk cId="133525499" sldId="2147473484"/>
            <ac:graphicFrameMk id="6" creationId="{130048E6-6CA2-6440-6A3E-211D690DC4B1}"/>
          </ac:graphicFrameMkLst>
        </pc:graphicFrameChg>
        <pc:picChg chg="del">
          <ac:chgData name="Tường SKHĐT" userId="ab9568c39a88b08a" providerId="LiveId" clId="{04B915F6-82C3-461C-A009-4E83932BA335}" dt="2023-02-03T08:58:34.694" v="1590" actId="21"/>
          <ac:picMkLst>
            <pc:docMk/>
            <pc:sldMk cId="133525499" sldId="2147473484"/>
            <ac:picMk id="13314" creationId="{00000000-0000-0000-0000-000000000000}"/>
          </ac:picMkLst>
        </pc:picChg>
        <pc:cxnChg chg="add mod">
          <ac:chgData name="Tường SKHĐT" userId="ab9568c39a88b08a" providerId="LiveId" clId="{04B915F6-82C3-461C-A009-4E83932BA335}" dt="2023-02-03T09:00:25.617" v="1657"/>
          <ac:cxnSpMkLst>
            <pc:docMk/>
            <pc:sldMk cId="133525499" sldId="2147473484"/>
            <ac:cxnSpMk id="3" creationId="{C2F5C2C6-25EC-77BF-0853-F8E0DC610344}"/>
          </ac:cxnSpMkLst>
        </pc:cxnChg>
      </pc:sldChg>
      <pc:sldChg chg="addSp delSp modSp add mod">
        <pc:chgData name="Tường SKHĐT" userId="ab9568c39a88b08a" providerId="LiveId" clId="{04B915F6-82C3-461C-A009-4E83932BA335}" dt="2023-02-10T09:47:30.809" v="1940" actId="20577"/>
        <pc:sldMkLst>
          <pc:docMk/>
          <pc:sldMk cId="772118328" sldId="2147473486"/>
        </pc:sldMkLst>
        <pc:spChg chg="add mod">
          <ac:chgData name="Tường SKHĐT" userId="ab9568c39a88b08a" providerId="LiveId" clId="{04B915F6-82C3-461C-A009-4E83932BA335}" dt="2023-02-10T09:46:56.706" v="1924" actId="20577"/>
          <ac:spMkLst>
            <pc:docMk/>
            <pc:sldMk cId="772118328" sldId="2147473486"/>
            <ac:spMk id="2" creationId="{5FFD96AB-6D7A-1E30-7076-E600BC75944F}"/>
          </ac:spMkLst>
        </pc:spChg>
        <pc:spChg chg="add mod">
          <ac:chgData name="Tường SKHĐT" userId="ab9568c39a88b08a" providerId="LiveId" clId="{04B915F6-82C3-461C-A009-4E83932BA335}" dt="2023-02-03T08:59:30.606" v="1638" actId="1076"/>
          <ac:spMkLst>
            <pc:docMk/>
            <pc:sldMk cId="772118328" sldId="2147473486"/>
            <ac:spMk id="4" creationId="{10BCF8F0-5725-7409-2169-D5D238673B8F}"/>
          </ac:spMkLst>
        </pc:spChg>
        <pc:spChg chg="mod">
          <ac:chgData name="Tường SKHĐT" userId="ab9568c39a88b08a" providerId="LiveId" clId="{04B915F6-82C3-461C-A009-4E83932BA335}" dt="2023-02-10T09:47:30.809" v="1940" actId="20577"/>
          <ac:spMkLst>
            <pc:docMk/>
            <pc:sldMk cId="772118328" sldId="2147473486"/>
            <ac:spMk id="9" creationId="{4219F808-181B-0133-F1E0-2E11448658B7}"/>
          </ac:spMkLst>
        </pc:spChg>
        <pc:spChg chg="del">
          <ac:chgData name="Tường SKHĐT" userId="ab9568c39a88b08a" providerId="LiveId" clId="{04B915F6-82C3-461C-A009-4E83932BA335}" dt="2023-02-03T08:59:02.666" v="1591" actId="21"/>
          <ac:spMkLst>
            <pc:docMk/>
            <pc:sldMk cId="772118328" sldId="2147473486"/>
            <ac:spMk id="11" creationId="{00000000-0000-0000-0000-000000000000}"/>
          </ac:spMkLst>
        </pc:spChg>
        <pc:graphicFrameChg chg="add del mod modGraphic">
          <ac:chgData name="Tường SKHĐT" userId="ab9568c39a88b08a" providerId="LiveId" clId="{04B915F6-82C3-461C-A009-4E83932BA335}" dt="2023-02-10T09:41:08.371" v="1873" actId="21"/>
          <ac:graphicFrameMkLst>
            <pc:docMk/>
            <pc:sldMk cId="772118328" sldId="2147473486"/>
            <ac:graphicFrameMk id="5" creationId="{13BC2314-362C-988D-CFDF-B3DBE9970A91}"/>
          </ac:graphicFrameMkLst>
        </pc:graphicFrameChg>
        <pc:graphicFrameChg chg="add del mod">
          <ac:chgData name="Tường SKHĐT" userId="ab9568c39a88b08a" providerId="LiveId" clId="{04B915F6-82C3-461C-A009-4E83932BA335}" dt="2023-02-06T03:51:14.169" v="1661" actId="21"/>
          <ac:graphicFrameMkLst>
            <pc:docMk/>
            <pc:sldMk cId="772118328" sldId="2147473486"/>
            <ac:graphicFrameMk id="5" creationId="{1801464A-747A-F144-A371-ECA03B4EC4DE}"/>
          </ac:graphicFrameMkLst>
        </pc:graphicFrameChg>
        <pc:graphicFrameChg chg="add del mod modGraphic">
          <ac:chgData name="Tường SKHĐT" userId="ab9568c39a88b08a" providerId="LiveId" clId="{04B915F6-82C3-461C-A009-4E83932BA335}" dt="2023-02-10T09:27:47.942" v="1833" actId="21"/>
          <ac:graphicFrameMkLst>
            <pc:docMk/>
            <pc:sldMk cId="772118328" sldId="2147473486"/>
            <ac:graphicFrameMk id="6" creationId="{C549E746-7025-1250-2C54-67965C047A6E}"/>
          </ac:graphicFrameMkLst>
        </pc:graphicFrameChg>
        <pc:graphicFrameChg chg="add mod modGraphic">
          <ac:chgData name="Tường SKHĐT" userId="ab9568c39a88b08a" providerId="LiveId" clId="{04B915F6-82C3-461C-A009-4E83932BA335}" dt="2023-02-10T09:45:48.237" v="1905" actId="1076"/>
          <ac:graphicFrameMkLst>
            <pc:docMk/>
            <pc:sldMk cId="772118328" sldId="2147473486"/>
            <ac:graphicFrameMk id="7" creationId="{CDF9E660-BA15-1A9A-7559-410B93B0F210}"/>
          </ac:graphicFrameMkLst>
        </pc:graphicFrameChg>
        <pc:picChg chg="del">
          <ac:chgData name="Tường SKHĐT" userId="ab9568c39a88b08a" providerId="LiveId" clId="{04B915F6-82C3-461C-A009-4E83932BA335}" dt="2023-02-03T08:57:59.734" v="1578" actId="21"/>
          <ac:picMkLst>
            <pc:docMk/>
            <pc:sldMk cId="772118328" sldId="2147473486"/>
            <ac:picMk id="6146" creationId="{00000000-0000-0000-0000-000000000000}"/>
          </ac:picMkLst>
        </pc:picChg>
        <pc:cxnChg chg="add mod">
          <ac:chgData name="Tường SKHĐT" userId="ab9568c39a88b08a" providerId="LiveId" clId="{04B915F6-82C3-461C-A009-4E83932BA335}" dt="2023-02-03T08:59:07.243" v="1592"/>
          <ac:cxnSpMkLst>
            <pc:docMk/>
            <pc:sldMk cId="772118328" sldId="2147473486"/>
            <ac:cxnSpMk id="3" creationId="{05AE2905-A244-4D3B-2451-E4A9A82AB77D}"/>
          </ac:cxnSpMkLst>
        </pc:cxnChg>
      </pc:sldChg>
      <pc:sldChg chg="addSp delSp modSp add mod">
        <pc:chgData name="Tường SKHĐT" userId="ab9568c39a88b08a" providerId="LiveId" clId="{04B915F6-82C3-461C-A009-4E83932BA335}" dt="2023-02-10T09:48:48.124" v="1963" actId="14100"/>
        <pc:sldMkLst>
          <pc:docMk/>
          <pc:sldMk cId="3807688515" sldId="2147473487"/>
        </pc:sldMkLst>
        <pc:spChg chg="add mod">
          <ac:chgData name="Tường SKHĐT" userId="ab9568c39a88b08a" providerId="LiveId" clId="{04B915F6-82C3-461C-A009-4E83932BA335}" dt="2023-02-03T09:00:14.538" v="1648"/>
          <ac:spMkLst>
            <pc:docMk/>
            <pc:sldMk cId="3807688515" sldId="2147473487"/>
            <ac:spMk id="2" creationId="{7CA2E0E7-2754-57B2-9520-165ADDA14478}"/>
          </ac:spMkLst>
        </pc:spChg>
        <pc:spChg chg="add mod">
          <ac:chgData name="Tường SKHĐT" userId="ab9568c39a88b08a" providerId="LiveId" clId="{04B915F6-82C3-461C-A009-4E83932BA335}" dt="2023-02-03T09:00:14.538" v="1648"/>
          <ac:spMkLst>
            <pc:docMk/>
            <pc:sldMk cId="3807688515" sldId="2147473487"/>
            <ac:spMk id="4" creationId="{B2CEB16A-AE45-AFCE-8D0D-218010916722}"/>
          </ac:spMkLst>
        </pc:spChg>
        <pc:spChg chg="mod">
          <ac:chgData name="Tường SKHĐT" userId="ab9568c39a88b08a" providerId="LiveId" clId="{04B915F6-82C3-461C-A009-4E83932BA335}" dt="2023-02-10T09:47:55.243" v="1948" actId="20577"/>
          <ac:spMkLst>
            <pc:docMk/>
            <pc:sldMk cId="3807688515" sldId="2147473487"/>
            <ac:spMk id="9" creationId="{4219F808-181B-0133-F1E0-2E11448658B7}"/>
          </ac:spMkLst>
        </pc:spChg>
        <pc:spChg chg="del">
          <ac:chgData name="Tường SKHĐT" userId="ab9568c39a88b08a" providerId="LiveId" clId="{04B915F6-82C3-461C-A009-4E83932BA335}" dt="2023-02-03T08:59:27.062" v="1637" actId="21"/>
          <ac:spMkLst>
            <pc:docMk/>
            <pc:sldMk cId="3807688515" sldId="2147473487"/>
            <ac:spMk id="11" creationId="{00000000-0000-0000-0000-000000000000}"/>
          </ac:spMkLst>
        </pc:spChg>
        <pc:graphicFrameChg chg="add del mod modGraphic">
          <ac:chgData name="Tường SKHĐT" userId="ab9568c39a88b08a" providerId="LiveId" clId="{04B915F6-82C3-461C-A009-4E83932BA335}" dt="2023-02-10T09:47:41.169" v="1941" actId="21"/>
          <ac:graphicFrameMkLst>
            <pc:docMk/>
            <pc:sldMk cId="3807688515" sldId="2147473487"/>
            <ac:graphicFrameMk id="5" creationId="{CDB796DE-5F11-8E5F-4B05-F4CA67C631DC}"/>
          </ac:graphicFrameMkLst>
        </pc:graphicFrameChg>
        <pc:graphicFrameChg chg="add mod modGraphic">
          <ac:chgData name="Tường SKHĐT" userId="ab9568c39a88b08a" providerId="LiveId" clId="{04B915F6-82C3-461C-A009-4E83932BA335}" dt="2023-02-10T09:48:48.124" v="1963" actId="14100"/>
          <ac:graphicFrameMkLst>
            <pc:docMk/>
            <pc:sldMk cId="3807688515" sldId="2147473487"/>
            <ac:graphicFrameMk id="6" creationId="{44EB092C-A260-9D80-935A-488C0F493EA6}"/>
          </ac:graphicFrameMkLst>
        </pc:graphicFrameChg>
        <pc:picChg chg="del">
          <ac:chgData name="Tường SKHĐT" userId="ab9568c39a88b08a" providerId="LiveId" clId="{04B915F6-82C3-461C-A009-4E83932BA335}" dt="2023-02-03T08:58:02.773" v="1579" actId="21"/>
          <ac:picMkLst>
            <pc:docMk/>
            <pc:sldMk cId="3807688515" sldId="2147473487"/>
            <ac:picMk id="4098" creationId="{00000000-0000-0000-0000-000000000000}"/>
          </ac:picMkLst>
        </pc:picChg>
        <pc:cxnChg chg="add mod">
          <ac:chgData name="Tường SKHĐT" userId="ab9568c39a88b08a" providerId="LiveId" clId="{04B915F6-82C3-461C-A009-4E83932BA335}" dt="2023-02-03T09:00:14.538" v="1648"/>
          <ac:cxnSpMkLst>
            <pc:docMk/>
            <pc:sldMk cId="3807688515" sldId="2147473487"/>
            <ac:cxnSpMk id="3" creationId="{13657BBB-898B-FDE1-DE50-AFE96E672ED0}"/>
          </ac:cxnSpMkLst>
        </pc:cxnChg>
      </pc:sldChg>
      <pc:sldChg chg="addSp delSp modSp add mod">
        <pc:chgData name="Tường SKHĐT" userId="ab9568c39a88b08a" providerId="LiveId" clId="{04B915F6-82C3-461C-A009-4E83932BA335}" dt="2023-02-10T09:54:16.570" v="2081" actId="20577"/>
        <pc:sldMkLst>
          <pc:docMk/>
          <pc:sldMk cId="1280197132" sldId="2147473488"/>
        </pc:sldMkLst>
        <pc:spChg chg="add mod">
          <ac:chgData name="Tường SKHĐT" userId="ab9568c39a88b08a" providerId="LiveId" clId="{04B915F6-82C3-461C-A009-4E83932BA335}" dt="2023-02-03T09:00:15.824" v="1649"/>
          <ac:spMkLst>
            <pc:docMk/>
            <pc:sldMk cId="1280197132" sldId="2147473488"/>
            <ac:spMk id="2" creationId="{38125336-D59C-639A-E0BC-B187DFAA77DD}"/>
          </ac:spMkLst>
        </pc:spChg>
        <pc:spChg chg="add mod">
          <ac:chgData name="Tường SKHĐT" userId="ab9568c39a88b08a" providerId="LiveId" clId="{04B915F6-82C3-461C-A009-4E83932BA335}" dt="2023-02-03T09:00:15.824" v="1649"/>
          <ac:spMkLst>
            <pc:docMk/>
            <pc:sldMk cId="1280197132" sldId="2147473488"/>
            <ac:spMk id="4" creationId="{DCE24D0B-1405-A24F-1A6B-0C4546ED2840}"/>
          </ac:spMkLst>
        </pc:spChg>
        <pc:spChg chg="add del mod">
          <ac:chgData name="Tường SKHĐT" userId="ab9568c39a88b08a" providerId="LiveId" clId="{04B915F6-82C3-461C-A009-4E83932BA335}" dt="2023-02-10T09:25:06.526" v="1830" actId="21"/>
          <ac:spMkLst>
            <pc:docMk/>
            <pc:sldMk cId="1280197132" sldId="2147473488"/>
            <ac:spMk id="5" creationId="{977C63B2-DE0F-FF0D-3BBF-EB81437DB4FB}"/>
          </ac:spMkLst>
        </pc:spChg>
        <pc:spChg chg="mod">
          <ac:chgData name="Tường SKHĐT" userId="ab9568c39a88b08a" providerId="LiveId" clId="{04B915F6-82C3-461C-A009-4E83932BA335}" dt="2023-02-10T09:50:28.099" v="1984" actId="20577"/>
          <ac:spMkLst>
            <pc:docMk/>
            <pc:sldMk cId="1280197132" sldId="2147473488"/>
            <ac:spMk id="9" creationId="{4219F808-181B-0133-F1E0-2E11448658B7}"/>
          </ac:spMkLst>
        </pc:spChg>
        <pc:spChg chg="del">
          <ac:chgData name="Tường SKHĐT" userId="ab9568c39a88b08a" providerId="LiveId" clId="{04B915F6-82C3-461C-A009-4E83932BA335}" dt="2023-02-03T08:59:38.521" v="1639" actId="21"/>
          <ac:spMkLst>
            <pc:docMk/>
            <pc:sldMk cId="1280197132" sldId="2147473488"/>
            <ac:spMk id="11" creationId="{00000000-0000-0000-0000-000000000000}"/>
          </ac:spMkLst>
        </pc:spChg>
        <pc:spChg chg="add mod">
          <ac:chgData name="Tường SKHĐT" userId="ab9568c39a88b08a" providerId="LiveId" clId="{04B915F6-82C3-461C-A009-4E83932BA335}" dt="2023-02-10T09:54:16.570" v="2081" actId="20577"/>
          <ac:spMkLst>
            <pc:docMk/>
            <pc:sldMk cId="1280197132" sldId="2147473488"/>
            <ac:spMk id="12" creationId="{F75BB7B6-6CAD-145A-0890-2D629AF08FD1}"/>
          </ac:spMkLst>
        </pc:spChg>
        <pc:graphicFrameChg chg="add del mod">
          <ac:chgData name="Tường SKHĐT" userId="ab9568c39a88b08a" providerId="LiveId" clId="{04B915F6-82C3-461C-A009-4E83932BA335}" dt="2023-02-10T09:49:34.493" v="1968" actId="21"/>
          <ac:graphicFrameMkLst>
            <pc:docMk/>
            <pc:sldMk cId="1280197132" sldId="2147473488"/>
            <ac:graphicFrameMk id="6" creationId="{0C838CA1-5040-2C77-D978-1436D5C7F3D4}"/>
          </ac:graphicFrameMkLst>
        </pc:graphicFrameChg>
        <pc:graphicFrameChg chg="add del mod modGraphic">
          <ac:chgData name="Tường SKHĐT" userId="ab9568c39a88b08a" providerId="LiveId" clId="{04B915F6-82C3-461C-A009-4E83932BA335}" dt="2023-02-10T09:50:40.523" v="1987" actId="21"/>
          <ac:graphicFrameMkLst>
            <pc:docMk/>
            <pc:sldMk cId="1280197132" sldId="2147473488"/>
            <ac:graphicFrameMk id="7" creationId="{2BAC11AB-5C7D-A933-22F7-1A5765C82441}"/>
          </ac:graphicFrameMkLst>
        </pc:graphicFrameChg>
        <pc:graphicFrameChg chg="add del mod">
          <ac:chgData name="Tường SKHĐT" userId="ab9568c39a88b08a" providerId="LiveId" clId="{04B915F6-82C3-461C-A009-4E83932BA335}" dt="2023-02-10T09:50:44.429" v="1989" actId="21"/>
          <ac:graphicFrameMkLst>
            <pc:docMk/>
            <pc:sldMk cId="1280197132" sldId="2147473488"/>
            <ac:graphicFrameMk id="10" creationId="{EB8F8201-61D4-AA3B-1D81-93DC29C30090}"/>
          </ac:graphicFrameMkLst>
        </pc:graphicFrameChg>
        <pc:graphicFrameChg chg="add mod">
          <ac:chgData name="Tường SKHĐT" userId="ab9568c39a88b08a" providerId="LiveId" clId="{04B915F6-82C3-461C-A009-4E83932BA335}" dt="2023-02-10T09:50:55.224" v="1990"/>
          <ac:graphicFrameMkLst>
            <pc:docMk/>
            <pc:sldMk cId="1280197132" sldId="2147473488"/>
            <ac:graphicFrameMk id="11" creationId="{0D9B9BE9-DB0E-C06A-4622-640659D4EF22}"/>
          </ac:graphicFrameMkLst>
        </pc:graphicFrameChg>
        <pc:picChg chg="del">
          <ac:chgData name="Tường SKHĐT" userId="ab9568c39a88b08a" providerId="LiveId" clId="{04B915F6-82C3-461C-A009-4E83932BA335}" dt="2023-02-03T08:58:05.889" v="1580" actId="21"/>
          <ac:picMkLst>
            <pc:docMk/>
            <pc:sldMk cId="1280197132" sldId="2147473488"/>
            <ac:picMk id="7171" creationId="{00000000-0000-0000-0000-000000000000}"/>
          </ac:picMkLst>
        </pc:picChg>
        <pc:cxnChg chg="add mod">
          <ac:chgData name="Tường SKHĐT" userId="ab9568c39a88b08a" providerId="LiveId" clId="{04B915F6-82C3-461C-A009-4E83932BA335}" dt="2023-02-03T09:00:15.824" v="1649"/>
          <ac:cxnSpMkLst>
            <pc:docMk/>
            <pc:sldMk cId="1280197132" sldId="2147473488"/>
            <ac:cxnSpMk id="3" creationId="{45EAD58B-275C-085E-203E-37EE2E98501D}"/>
          </ac:cxnSpMkLst>
        </pc:cxnChg>
      </pc:sldChg>
      <pc:sldChg chg="addSp delSp modSp add mod">
        <pc:chgData name="Tường SKHĐT" userId="ab9568c39a88b08a" providerId="LiveId" clId="{04B915F6-82C3-461C-A009-4E83932BA335}" dt="2023-02-10T09:51:51.031" v="2001" actId="1076"/>
        <pc:sldMkLst>
          <pc:docMk/>
          <pc:sldMk cId="2259048793" sldId="2147473489"/>
        </pc:sldMkLst>
        <pc:spChg chg="add mod">
          <ac:chgData name="Tường SKHĐT" userId="ab9568c39a88b08a" providerId="LiveId" clId="{04B915F6-82C3-461C-A009-4E83932BA335}" dt="2023-02-03T09:00:16.795" v="1650"/>
          <ac:spMkLst>
            <pc:docMk/>
            <pc:sldMk cId="2259048793" sldId="2147473489"/>
            <ac:spMk id="2" creationId="{127E9BFD-2D49-93B4-95F3-583317057A7D}"/>
          </ac:spMkLst>
        </pc:spChg>
        <pc:spChg chg="add mod">
          <ac:chgData name="Tường SKHĐT" userId="ab9568c39a88b08a" providerId="LiveId" clId="{04B915F6-82C3-461C-A009-4E83932BA335}" dt="2023-02-03T09:00:16.795" v="1650"/>
          <ac:spMkLst>
            <pc:docMk/>
            <pc:sldMk cId="2259048793" sldId="2147473489"/>
            <ac:spMk id="4" creationId="{1B58CEBA-4BD2-E4CF-A54D-967577590DE7}"/>
          </ac:spMkLst>
        </pc:spChg>
        <pc:spChg chg="mod">
          <ac:chgData name="Tường SKHĐT" userId="ab9568c39a88b08a" providerId="LiveId" clId="{04B915F6-82C3-461C-A009-4E83932BA335}" dt="2023-02-10T09:51:29.686" v="1999" actId="1076"/>
          <ac:spMkLst>
            <pc:docMk/>
            <pc:sldMk cId="2259048793" sldId="2147473489"/>
            <ac:spMk id="9" creationId="{4219F808-181B-0133-F1E0-2E11448658B7}"/>
          </ac:spMkLst>
        </pc:spChg>
        <pc:spChg chg="del">
          <ac:chgData name="Tường SKHĐT" userId="ab9568c39a88b08a" providerId="LiveId" clId="{04B915F6-82C3-461C-A009-4E83932BA335}" dt="2023-02-03T08:59:44.558" v="1640" actId="21"/>
          <ac:spMkLst>
            <pc:docMk/>
            <pc:sldMk cId="2259048793" sldId="2147473489"/>
            <ac:spMk id="11" creationId="{00000000-0000-0000-0000-000000000000}"/>
          </ac:spMkLst>
        </pc:spChg>
        <pc:graphicFrameChg chg="add del mod">
          <ac:chgData name="Tường SKHĐT" userId="ab9568c39a88b08a" providerId="LiveId" clId="{04B915F6-82C3-461C-A009-4E83932BA335}" dt="2023-02-10T09:51:19.598" v="1993" actId="21"/>
          <ac:graphicFrameMkLst>
            <pc:docMk/>
            <pc:sldMk cId="2259048793" sldId="2147473489"/>
            <ac:graphicFrameMk id="5" creationId="{ABE24494-F057-064A-DA0C-B32D02E755B1}"/>
          </ac:graphicFrameMkLst>
        </pc:graphicFrameChg>
        <pc:graphicFrameChg chg="add mod">
          <ac:chgData name="Tường SKHĐT" userId="ab9568c39a88b08a" providerId="LiveId" clId="{04B915F6-82C3-461C-A009-4E83932BA335}" dt="2023-02-10T09:51:51.031" v="2001" actId="1076"/>
          <ac:graphicFrameMkLst>
            <pc:docMk/>
            <pc:sldMk cId="2259048793" sldId="2147473489"/>
            <ac:graphicFrameMk id="6" creationId="{0A137786-A635-3CE7-DEA1-75F4977CAB68}"/>
          </ac:graphicFrameMkLst>
        </pc:graphicFrameChg>
        <pc:picChg chg="del">
          <ac:chgData name="Tường SKHĐT" userId="ab9568c39a88b08a" providerId="LiveId" clId="{04B915F6-82C3-461C-A009-4E83932BA335}" dt="2023-02-03T08:58:08.387" v="1581" actId="21"/>
          <ac:picMkLst>
            <pc:docMk/>
            <pc:sldMk cId="2259048793" sldId="2147473489"/>
            <ac:picMk id="8194" creationId="{00000000-0000-0000-0000-000000000000}"/>
          </ac:picMkLst>
        </pc:picChg>
        <pc:cxnChg chg="add mod">
          <ac:chgData name="Tường SKHĐT" userId="ab9568c39a88b08a" providerId="LiveId" clId="{04B915F6-82C3-461C-A009-4E83932BA335}" dt="2023-02-03T09:00:16.795" v="1650"/>
          <ac:cxnSpMkLst>
            <pc:docMk/>
            <pc:sldMk cId="2259048793" sldId="2147473489"/>
            <ac:cxnSpMk id="3" creationId="{A34B4EA7-1A15-2308-97D2-79716CF248CF}"/>
          </ac:cxnSpMkLst>
        </pc:cxnChg>
      </pc:sldChg>
      <pc:sldChg chg="addSp delSp modSp add mod">
        <pc:chgData name="Tường SKHĐT" userId="ab9568c39a88b08a" providerId="LiveId" clId="{04B915F6-82C3-461C-A009-4E83932BA335}" dt="2023-02-10T09:55:12.243" v="2092" actId="20577"/>
        <pc:sldMkLst>
          <pc:docMk/>
          <pc:sldMk cId="4247458584" sldId="2147473490"/>
        </pc:sldMkLst>
        <pc:spChg chg="add mod">
          <ac:chgData name="Tường SKHĐT" userId="ab9568c39a88b08a" providerId="LiveId" clId="{04B915F6-82C3-461C-A009-4E83932BA335}" dt="2023-02-03T09:00:17.897" v="1651"/>
          <ac:spMkLst>
            <pc:docMk/>
            <pc:sldMk cId="4247458584" sldId="2147473490"/>
            <ac:spMk id="2" creationId="{FE7585B3-05A8-0FFA-57A0-5D2E26FE313D}"/>
          </ac:spMkLst>
        </pc:spChg>
        <pc:spChg chg="add mod">
          <ac:chgData name="Tường SKHĐT" userId="ab9568c39a88b08a" providerId="LiveId" clId="{04B915F6-82C3-461C-A009-4E83932BA335}" dt="2023-02-03T09:00:17.897" v="1651"/>
          <ac:spMkLst>
            <pc:docMk/>
            <pc:sldMk cId="4247458584" sldId="2147473490"/>
            <ac:spMk id="4" creationId="{BEBCD07A-690F-BA36-203E-C2E9CC0B690B}"/>
          </ac:spMkLst>
        </pc:spChg>
        <pc:spChg chg="mod">
          <ac:chgData name="Tường SKHĐT" userId="ab9568c39a88b08a" providerId="LiveId" clId="{04B915F6-82C3-461C-A009-4E83932BA335}" dt="2023-02-10T09:55:12.243" v="2092" actId="20577"/>
          <ac:spMkLst>
            <pc:docMk/>
            <pc:sldMk cId="4247458584" sldId="2147473490"/>
            <ac:spMk id="9" creationId="{4219F808-181B-0133-F1E0-2E11448658B7}"/>
          </ac:spMkLst>
        </pc:spChg>
        <pc:spChg chg="del">
          <ac:chgData name="Tường SKHĐT" userId="ab9568c39a88b08a" providerId="LiveId" clId="{04B915F6-82C3-461C-A009-4E83932BA335}" dt="2023-02-03T08:59:47.612" v="1641" actId="21"/>
          <ac:spMkLst>
            <pc:docMk/>
            <pc:sldMk cId="4247458584" sldId="2147473490"/>
            <ac:spMk id="11" creationId="{00000000-0000-0000-0000-000000000000}"/>
          </ac:spMkLst>
        </pc:spChg>
        <pc:graphicFrameChg chg="add del mod">
          <ac:chgData name="Tường SKHĐT" userId="ab9568c39a88b08a" providerId="LiveId" clId="{04B915F6-82C3-461C-A009-4E83932BA335}" dt="2023-02-10T09:53:24.843" v="2014" actId="21"/>
          <ac:graphicFrameMkLst>
            <pc:docMk/>
            <pc:sldMk cId="4247458584" sldId="2147473490"/>
            <ac:graphicFrameMk id="5" creationId="{CEE060B8-0F30-8E54-86E5-C4BD310E6D51}"/>
          </ac:graphicFrameMkLst>
        </pc:graphicFrameChg>
        <pc:graphicFrameChg chg="add mod">
          <ac:chgData name="Tường SKHĐT" userId="ab9568c39a88b08a" providerId="LiveId" clId="{04B915F6-82C3-461C-A009-4E83932BA335}" dt="2023-02-10T09:54:55.593" v="2083" actId="1076"/>
          <ac:graphicFrameMkLst>
            <pc:docMk/>
            <pc:sldMk cId="4247458584" sldId="2147473490"/>
            <ac:graphicFrameMk id="6" creationId="{CD93C8CA-DA99-00EF-CB40-3CB09D71FCFC}"/>
          </ac:graphicFrameMkLst>
        </pc:graphicFrameChg>
        <pc:picChg chg="del">
          <ac:chgData name="Tường SKHĐT" userId="ab9568c39a88b08a" providerId="LiveId" clId="{04B915F6-82C3-461C-A009-4E83932BA335}" dt="2023-02-03T08:58:11.251" v="1582" actId="21"/>
          <ac:picMkLst>
            <pc:docMk/>
            <pc:sldMk cId="4247458584" sldId="2147473490"/>
            <ac:picMk id="9218" creationId="{00000000-0000-0000-0000-000000000000}"/>
          </ac:picMkLst>
        </pc:picChg>
        <pc:cxnChg chg="add mod">
          <ac:chgData name="Tường SKHĐT" userId="ab9568c39a88b08a" providerId="LiveId" clId="{04B915F6-82C3-461C-A009-4E83932BA335}" dt="2023-02-03T09:00:17.897" v="1651"/>
          <ac:cxnSpMkLst>
            <pc:docMk/>
            <pc:sldMk cId="4247458584" sldId="2147473490"/>
            <ac:cxnSpMk id="3" creationId="{45BE9C10-3A05-E13D-D5C0-D60D0F3D90E6}"/>
          </ac:cxnSpMkLst>
        </pc:cxnChg>
      </pc:sldChg>
      <pc:sldChg chg="addSp delSp modSp add del mod">
        <pc:chgData name="Tường SKHĐT" userId="ab9568c39a88b08a" providerId="LiveId" clId="{04B915F6-82C3-461C-A009-4E83932BA335}" dt="2023-02-10T09:57:05.469" v="2121" actId="1076"/>
        <pc:sldMkLst>
          <pc:docMk/>
          <pc:sldMk cId="1474800910" sldId="2147473491"/>
        </pc:sldMkLst>
        <pc:spChg chg="add mod">
          <ac:chgData name="Tường SKHĐT" userId="ab9568c39a88b08a" providerId="LiveId" clId="{04B915F6-82C3-461C-A009-4E83932BA335}" dt="2023-02-03T09:00:19.290" v="1652"/>
          <ac:spMkLst>
            <pc:docMk/>
            <pc:sldMk cId="1474800910" sldId="2147473491"/>
            <ac:spMk id="2" creationId="{8445E0A5-2DFC-20E6-D16C-4132A0CF54DD}"/>
          </ac:spMkLst>
        </pc:spChg>
        <pc:spChg chg="add mod">
          <ac:chgData name="Tường SKHĐT" userId="ab9568c39a88b08a" providerId="LiveId" clId="{04B915F6-82C3-461C-A009-4E83932BA335}" dt="2023-02-03T09:00:19.290" v="1652"/>
          <ac:spMkLst>
            <pc:docMk/>
            <pc:sldMk cId="1474800910" sldId="2147473491"/>
            <ac:spMk id="4" creationId="{02523143-21AD-A660-FD68-24786C36098B}"/>
          </ac:spMkLst>
        </pc:spChg>
        <pc:spChg chg="mod">
          <ac:chgData name="Tường SKHĐT" userId="ab9568c39a88b08a" providerId="LiveId" clId="{04B915F6-82C3-461C-A009-4E83932BA335}" dt="2023-02-10T09:57:05.469" v="2121" actId="1076"/>
          <ac:spMkLst>
            <pc:docMk/>
            <pc:sldMk cId="1474800910" sldId="2147473491"/>
            <ac:spMk id="9" creationId="{4219F808-181B-0133-F1E0-2E11448658B7}"/>
          </ac:spMkLst>
        </pc:spChg>
        <pc:spChg chg="del">
          <ac:chgData name="Tường SKHĐT" userId="ab9568c39a88b08a" providerId="LiveId" clId="{04B915F6-82C3-461C-A009-4E83932BA335}" dt="2023-02-03T08:59:51.316" v="1642" actId="21"/>
          <ac:spMkLst>
            <pc:docMk/>
            <pc:sldMk cId="1474800910" sldId="2147473491"/>
            <ac:spMk id="11" creationId="{00000000-0000-0000-0000-000000000000}"/>
          </ac:spMkLst>
        </pc:spChg>
        <pc:graphicFrameChg chg="add del mod">
          <ac:chgData name="Tường SKHĐT" userId="ab9568c39a88b08a" providerId="LiveId" clId="{04B915F6-82C3-461C-A009-4E83932BA335}" dt="2023-02-10T09:53:28.935" v="2015" actId="21"/>
          <ac:graphicFrameMkLst>
            <pc:docMk/>
            <pc:sldMk cId="1474800910" sldId="2147473491"/>
            <ac:graphicFrameMk id="5" creationId="{B19D448A-B3AA-9B28-6257-DDA8E38F9297}"/>
          </ac:graphicFrameMkLst>
        </pc:graphicFrameChg>
        <pc:graphicFrameChg chg="add mod modGraphic">
          <ac:chgData name="Tường SKHĐT" userId="ab9568c39a88b08a" providerId="LiveId" clId="{04B915F6-82C3-461C-A009-4E83932BA335}" dt="2023-02-10T09:57:02.454" v="2120" actId="1076"/>
          <ac:graphicFrameMkLst>
            <pc:docMk/>
            <pc:sldMk cId="1474800910" sldId="2147473491"/>
            <ac:graphicFrameMk id="6" creationId="{DBFCD2E3-EA63-A1FE-72E1-3617BB71AA20}"/>
          </ac:graphicFrameMkLst>
        </pc:graphicFrameChg>
        <pc:picChg chg="del">
          <ac:chgData name="Tường SKHĐT" userId="ab9568c39a88b08a" providerId="LiveId" clId="{04B915F6-82C3-461C-A009-4E83932BA335}" dt="2023-02-03T08:58:23.985" v="1585" actId="21"/>
          <ac:picMkLst>
            <pc:docMk/>
            <pc:sldMk cId="1474800910" sldId="2147473491"/>
            <ac:picMk id="10242" creationId="{00000000-0000-0000-0000-000000000000}"/>
          </ac:picMkLst>
        </pc:picChg>
        <pc:cxnChg chg="add mod">
          <ac:chgData name="Tường SKHĐT" userId="ab9568c39a88b08a" providerId="LiveId" clId="{04B915F6-82C3-461C-A009-4E83932BA335}" dt="2023-02-03T09:00:19.290" v="1652"/>
          <ac:cxnSpMkLst>
            <pc:docMk/>
            <pc:sldMk cId="1474800910" sldId="2147473491"/>
            <ac:cxnSpMk id="3" creationId="{C0507280-9C7E-5CF8-F5BF-242159622ECD}"/>
          </ac:cxnSpMkLst>
        </pc:cxnChg>
      </pc:sldChg>
      <pc:sldChg chg="addSp delSp modSp add mod">
        <pc:chgData name="Tường SKHĐT" userId="ab9568c39a88b08a" providerId="LiveId" clId="{04B915F6-82C3-461C-A009-4E83932BA335}" dt="2023-02-10T10:03:00.634" v="2194" actId="14100"/>
        <pc:sldMkLst>
          <pc:docMk/>
          <pc:sldMk cId="835953309" sldId="2147473492"/>
        </pc:sldMkLst>
        <pc:spChg chg="add mod">
          <ac:chgData name="Tường SKHĐT" userId="ab9568c39a88b08a" providerId="LiveId" clId="{04B915F6-82C3-461C-A009-4E83932BA335}" dt="2023-02-03T09:00:21.978" v="1654"/>
          <ac:spMkLst>
            <pc:docMk/>
            <pc:sldMk cId="835953309" sldId="2147473492"/>
            <ac:spMk id="2" creationId="{E9231129-C96B-B96C-CED6-98397F6C29F3}"/>
          </ac:spMkLst>
        </pc:spChg>
        <pc:spChg chg="add mod">
          <ac:chgData name="Tường SKHĐT" userId="ab9568c39a88b08a" providerId="LiveId" clId="{04B915F6-82C3-461C-A009-4E83932BA335}" dt="2023-02-03T09:00:21.978" v="1654"/>
          <ac:spMkLst>
            <pc:docMk/>
            <pc:sldMk cId="835953309" sldId="2147473492"/>
            <ac:spMk id="4" creationId="{ECF60952-8DE5-DDFF-A699-9D8035AD1109}"/>
          </ac:spMkLst>
        </pc:spChg>
        <pc:spChg chg="mod">
          <ac:chgData name="Tường SKHĐT" userId="ab9568c39a88b08a" providerId="LiveId" clId="{04B915F6-82C3-461C-A009-4E83932BA335}" dt="2023-02-10T10:02:55.743" v="2192" actId="20577"/>
          <ac:spMkLst>
            <pc:docMk/>
            <pc:sldMk cId="835953309" sldId="2147473492"/>
            <ac:spMk id="9" creationId="{4219F808-181B-0133-F1E0-2E11448658B7}"/>
          </ac:spMkLst>
        </pc:spChg>
        <pc:spChg chg="del">
          <ac:chgData name="Tường SKHĐT" userId="ab9568c39a88b08a" providerId="LiveId" clId="{04B915F6-82C3-461C-A009-4E83932BA335}" dt="2023-02-03T08:59:58.347" v="1644" actId="21"/>
          <ac:spMkLst>
            <pc:docMk/>
            <pc:sldMk cId="835953309" sldId="2147473492"/>
            <ac:spMk id="11" creationId="{00000000-0000-0000-0000-000000000000}"/>
          </ac:spMkLst>
        </pc:spChg>
        <pc:graphicFrameChg chg="add del mod">
          <ac:chgData name="Tường SKHĐT" userId="ab9568c39a88b08a" providerId="LiveId" clId="{04B915F6-82C3-461C-A009-4E83932BA335}" dt="2023-02-10T09:53:37.031" v="2017" actId="21"/>
          <ac:graphicFrameMkLst>
            <pc:docMk/>
            <pc:sldMk cId="835953309" sldId="2147473492"/>
            <ac:graphicFrameMk id="5" creationId="{61DB161D-4569-87AA-67C5-CF83E660F763}"/>
          </ac:graphicFrameMkLst>
        </pc:graphicFrameChg>
        <pc:graphicFrameChg chg="add mod modGraphic">
          <ac:chgData name="Tường SKHĐT" userId="ab9568c39a88b08a" providerId="LiveId" clId="{04B915F6-82C3-461C-A009-4E83932BA335}" dt="2023-02-10T10:03:00.634" v="2194" actId="14100"/>
          <ac:graphicFrameMkLst>
            <pc:docMk/>
            <pc:sldMk cId="835953309" sldId="2147473492"/>
            <ac:graphicFrameMk id="6" creationId="{9C5C77D1-BC76-A574-CF5E-09FF99B54550}"/>
          </ac:graphicFrameMkLst>
        </pc:graphicFrameChg>
        <pc:picChg chg="del">
          <ac:chgData name="Tường SKHĐT" userId="ab9568c39a88b08a" providerId="LiveId" clId="{04B915F6-82C3-461C-A009-4E83932BA335}" dt="2023-02-03T08:58:29.221" v="1587" actId="21"/>
          <ac:picMkLst>
            <pc:docMk/>
            <pc:sldMk cId="835953309" sldId="2147473492"/>
            <ac:picMk id="5122" creationId="{00000000-0000-0000-0000-000000000000}"/>
          </ac:picMkLst>
        </pc:picChg>
        <pc:cxnChg chg="add mod">
          <ac:chgData name="Tường SKHĐT" userId="ab9568c39a88b08a" providerId="LiveId" clId="{04B915F6-82C3-461C-A009-4E83932BA335}" dt="2023-02-03T09:00:21.978" v="1654"/>
          <ac:cxnSpMkLst>
            <pc:docMk/>
            <pc:sldMk cId="835953309" sldId="2147473492"/>
            <ac:cxnSpMk id="3" creationId="{E900E6F2-C4FF-A7E2-DDB2-ED82ACB79487}"/>
          </ac:cxnSpMkLst>
        </pc:cxnChg>
      </pc:sldChg>
      <pc:sldChg chg="addSp delSp modSp add mod">
        <pc:chgData name="Tường SKHĐT" userId="ab9568c39a88b08a" providerId="LiveId" clId="{04B915F6-82C3-461C-A009-4E83932BA335}" dt="2023-02-10T10:00:36.126" v="2165" actId="14100"/>
        <pc:sldMkLst>
          <pc:docMk/>
          <pc:sldMk cId="2797851216" sldId="2147473493"/>
        </pc:sldMkLst>
        <pc:spChg chg="add mod">
          <ac:chgData name="Tường SKHĐT" userId="ab9568c39a88b08a" providerId="LiveId" clId="{04B915F6-82C3-461C-A009-4E83932BA335}" dt="2023-02-03T09:00:20.658" v="1653"/>
          <ac:spMkLst>
            <pc:docMk/>
            <pc:sldMk cId="2797851216" sldId="2147473493"/>
            <ac:spMk id="2" creationId="{013E658F-A01E-3A3B-8485-EAF210FA7ADA}"/>
          </ac:spMkLst>
        </pc:spChg>
        <pc:spChg chg="add mod">
          <ac:chgData name="Tường SKHĐT" userId="ab9568c39a88b08a" providerId="LiveId" clId="{04B915F6-82C3-461C-A009-4E83932BA335}" dt="2023-02-03T09:00:20.658" v="1653"/>
          <ac:spMkLst>
            <pc:docMk/>
            <pc:sldMk cId="2797851216" sldId="2147473493"/>
            <ac:spMk id="4" creationId="{66884C55-D792-8E59-C322-2B0B3AA0E47C}"/>
          </ac:spMkLst>
        </pc:spChg>
        <pc:spChg chg="mod">
          <ac:chgData name="Tường SKHĐT" userId="ab9568c39a88b08a" providerId="LiveId" clId="{04B915F6-82C3-461C-A009-4E83932BA335}" dt="2023-02-10T10:00:36.126" v="2165" actId="14100"/>
          <ac:spMkLst>
            <pc:docMk/>
            <pc:sldMk cId="2797851216" sldId="2147473493"/>
            <ac:spMk id="9" creationId="{4219F808-181B-0133-F1E0-2E11448658B7}"/>
          </ac:spMkLst>
        </pc:spChg>
        <pc:spChg chg="del">
          <ac:chgData name="Tường SKHĐT" userId="ab9568c39a88b08a" providerId="LiveId" clId="{04B915F6-82C3-461C-A009-4E83932BA335}" dt="2023-02-03T08:59:55.153" v="1643" actId="21"/>
          <ac:spMkLst>
            <pc:docMk/>
            <pc:sldMk cId="2797851216" sldId="2147473493"/>
            <ac:spMk id="11" creationId="{00000000-0000-0000-0000-000000000000}"/>
          </ac:spMkLst>
        </pc:spChg>
        <pc:graphicFrameChg chg="add del mod">
          <ac:chgData name="Tường SKHĐT" userId="ab9568c39a88b08a" providerId="LiveId" clId="{04B915F6-82C3-461C-A009-4E83932BA335}" dt="2023-02-10T09:53:32.999" v="2016" actId="21"/>
          <ac:graphicFrameMkLst>
            <pc:docMk/>
            <pc:sldMk cId="2797851216" sldId="2147473493"/>
            <ac:graphicFrameMk id="5" creationId="{C3ECB0EA-C890-F0CD-28CB-C92274593DAD}"/>
          </ac:graphicFrameMkLst>
        </pc:graphicFrameChg>
        <pc:graphicFrameChg chg="add mod modGraphic">
          <ac:chgData name="Tường SKHĐT" userId="ab9568c39a88b08a" providerId="LiveId" clId="{04B915F6-82C3-461C-A009-4E83932BA335}" dt="2023-02-10T10:00:17.547" v="2152" actId="14100"/>
          <ac:graphicFrameMkLst>
            <pc:docMk/>
            <pc:sldMk cId="2797851216" sldId="2147473493"/>
            <ac:graphicFrameMk id="6" creationId="{9C1DC163-20F0-C0A7-C861-C3B47590DE73}"/>
          </ac:graphicFrameMkLst>
        </pc:graphicFrameChg>
        <pc:picChg chg="del">
          <ac:chgData name="Tường SKHĐT" userId="ab9568c39a88b08a" providerId="LiveId" clId="{04B915F6-82C3-461C-A009-4E83932BA335}" dt="2023-02-03T08:58:26.677" v="1586" actId="21"/>
          <ac:picMkLst>
            <pc:docMk/>
            <pc:sldMk cId="2797851216" sldId="2147473493"/>
            <ac:picMk id="11266" creationId="{00000000-0000-0000-0000-000000000000}"/>
          </ac:picMkLst>
        </pc:picChg>
        <pc:cxnChg chg="add mod">
          <ac:chgData name="Tường SKHĐT" userId="ab9568c39a88b08a" providerId="LiveId" clId="{04B915F6-82C3-461C-A009-4E83932BA335}" dt="2023-02-03T09:00:20.658" v="1653"/>
          <ac:cxnSpMkLst>
            <pc:docMk/>
            <pc:sldMk cId="2797851216" sldId="2147473493"/>
            <ac:cxnSpMk id="3" creationId="{947F091C-CC28-26CE-D7A0-666C73C77EA4}"/>
          </ac:cxnSpMkLst>
        </pc:cxnChg>
      </pc:sldChg>
      <pc:sldChg chg="modSp mod">
        <pc:chgData name="Tường SKHĐT" userId="ab9568c39a88b08a" providerId="LiveId" clId="{04B915F6-82C3-461C-A009-4E83932BA335}" dt="2023-02-03T07:46:22.990" v="251" actId="207"/>
        <pc:sldMkLst>
          <pc:docMk/>
          <pc:sldMk cId="4092993056" sldId="2147473513"/>
        </pc:sldMkLst>
        <pc:graphicFrameChg chg="modGraphic">
          <ac:chgData name="Tường SKHĐT" userId="ab9568c39a88b08a" providerId="LiveId" clId="{04B915F6-82C3-461C-A009-4E83932BA335}" dt="2023-02-03T07:46:22.990" v="251" actId="207"/>
          <ac:graphicFrameMkLst>
            <pc:docMk/>
            <pc:sldMk cId="4092993056" sldId="2147473513"/>
            <ac:graphicFrameMk id="7" creationId="{44FD6820-12F5-8C73-583C-7D9F46E04367}"/>
          </ac:graphicFrameMkLst>
        </pc:graphicFrameChg>
      </pc:sldChg>
      <pc:sldChg chg="addSp delSp modSp mod">
        <pc:chgData name="Tường SKHĐT" userId="ab9568c39a88b08a" providerId="LiveId" clId="{04B915F6-82C3-461C-A009-4E83932BA335}" dt="2023-02-03T08:19:06.192" v="1154" actId="1037"/>
        <pc:sldMkLst>
          <pc:docMk/>
          <pc:sldMk cId="1563031195" sldId="2147473516"/>
        </pc:sldMkLst>
        <pc:graphicFrameChg chg="mod modGraphic">
          <ac:chgData name="Tường SKHĐT" userId="ab9568c39a88b08a" providerId="LiveId" clId="{04B915F6-82C3-461C-A009-4E83932BA335}" dt="2023-02-03T08:19:06.192" v="1154" actId="1037"/>
          <ac:graphicFrameMkLst>
            <pc:docMk/>
            <pc:sldMk cId="1563031195" sldId="2147473516"/>
            <ac:graphicFrameMk id="8" creationId="{B5E5335D-2EED-82AF-3A59-FAE8BB94EAE1}"/>
          </ac:graphicFrameMkLst>
        </pc:graphicFrameChg>
        <pc:picChg chg="add mod">
          <ac:chgData name="Tường SKHĐT" userId="ab9568c39a88b08a" providerId="LiveId" clId="{04B915F6-82C3-461C-A009-4E83932BA335}" dt="2023-02-03T08:18:25.100" v="1119" actId="1076"/>
          <ac:picMkLst>
            <pc:docMk/>
            <pc:sldMk cId="1563031195" sldId="2147473516"/>
            <ac:picMk id="2" creationId="{4D464A2C-A35A-0F4C-1B21-00ECD1B61550}"/>
          </ac:picMkLst>
        </pc:picChg>
        <pc:picChg chg="add del mod">
          <ac:chgData name="Tường SKHĐT" userId="ab9568c39a88b08a" providerId="LiveId" clId="{04B915F6-82C3-461C-A009-4E83932BA335}" dt="2023-02-03T08:17:05.688" v="1109" actId="21"/>
          <ac:picMkLst>
            <pc:docMk/>
            <pc:sldMk cId="1563031195" sldId="2147473516"/>
            <ac:picMk id="5" creationId="{DC95218A-4784-8942-DFA9-211B6AA0FE73}"/>
          </ac:picMkLst>
        </pc:picChg>
        <pc:picChg chg="add mod">
          <ac:chgData name="Tường SKHĐT" userId="ab9568c39a88b08a" providerId="LiveId" clId="{04B915F6-82C3-461C-A009-4E83932BA335}" dt="2023-02-03T08:18:26.560" v="1120" actId="1076"/>
          <ac:picMkLst>
            <pc:docMk/>
            <pc:sldMk cId="1563031195" sldId="2147473516"/>
            <ac:picMk id="9" creationId="{B466986D-98F7-5ED9-EB66-B2288F820D38}"/>
          </ac:picMkLst>
        </pc:picChg>
      </pc:sldChg>
      <pc:sldChg chg="modSp mod">
        <pc:chgData name="Tường SKHĐT" userId="ab9568c39a88b08a" providerId="LiveId" clId="{04B915F6-82C3-461C-A009-4E83932BA335}" dt="2023-02-03T08:45:27.492" v="1575" actId="20577"/>
        <pc:sldMkLst>
          <pc:docMk/>
          <pc:sldMk cId="2957479116" sldId="2147473519"/>
        </pc:sldMkLst>
        <pc:graphicFrameChg chg="modGraphic">
          <ac:chgData name="Tường SKHĐT" userId="ab9568c39a88b08a" providerId="LiveId" clId="{04B915F6-82C3-461C-A009-4E83932BA335}" dt="2023-02-03T08:45:27.492" v="1575" actId="20577"/>
          <ac:graphicFrameMkLst>
            <pc:docMk/>
            <pc:sldMk cId="2957479116" sldId="2147473519"/>
            <ac:graphicFrameMk id="8" creationId="{B5E5335D-2EED-82AF-3A59-FAE8BB94EAE1}"/>
          </ac:graphicFrameMkLst>
        </pc:graphicFrameChg>
      </pc:sldChg>
      <pc:sldChg chg="modSp mod">
        <pc:chgData name="Tường SKHĐT" userId="ab9568c39a88b08a" providerId="LiveId" clId="{04B915F6-82C3-461C-A009-4E83932BA335}" dt="2023-02-03T08:56:47.074" v="1576" actId="1076"/>
        <pc:sldMkLst>
          <pc:docMk/>
          <pc:sldMk cId="848398433" sldId="2147473520"/>
        </pc:sldMkLst>
        <pc:graphicFrameChg chg="mod">
          <ac:chgData name="Tường SKHĐT" userId="ab9568c39a88b08a" providerId="LiveId" clId="{04B915F6-82C3-461C-A009-4E83932BA335}" dt="2023-02-03T08:56:47.074" v="1576" actId="1076"/>
          <ac:graphicFrameMkLst>
            <pc:docMk/>
            <pc:sldMk cId="848398433" sldId="2147473520"/>
            <ac:graphicFrameMk id="8" creationId="{B5E5335D-2EED-82AF-3A59-FAE8BB94EAE1}"/>
          </ac:graphicFrameMkLst>
        </pc:graphicFrameChg>
      </pc:sldChg>
      <pc:sldChg chg="modSp mod">
        <pc:chgData name="Tường SKHĐT" userId="ab9568c39a88b08a" providerId="LiveId" clId="{04B915F6-82C3-461C-A009-4E83932BA335}" dt="2023-02-03T08:05:57.558" v="822" actId="1035"/>
        <pc:sldMkLst>
          <pc:docMk/>
          <pc:sldMk cId="2307671257" sldId="2147473521"/>
        </pc:sldMkLst>
        <pc:spChg chg="mod">
          <ac:chgData name="Tường SKHĐT" userId="ab9568c39a88b08a" providerId="LiveId" clId="{04B915F6-82C3-461C-A009-4E83932BA335}" dt="2023-02-03T08:05:53.370" v="815" actId="1035"/>
          <ac:spMkLst>
            <pc:docMk/>
            <pc:sldMk cId="2307671257" sldId="2147473521"/>
            <ac:spMk id="25" creationId="{01DC26C3-E6F4-C27A-8624-3A65D81B6008}"/>
          </ac:spMkLst>
        </pc:spChg>
        <pc:graphicFrameChg chg="mod modGraphic">
          <ac:chgData name="Tường SKHĐT" userId="ab9568c39a88b08a" providerId="LiveId" clId="{04B915F6-82C3-461C-A009-4E83932BA335}" dt="2023-02-03T08:05:57.558" v="822" actId="1035"/>
          <ac:graphicFrameMkLst>
            <pc:docMk/>
            <pc:sldMk cId="2307671257" sldId="2147473521"/>
            <ac:graphicFrameMk id="8" creationId="{B5E5335D-2EED-82AF-3A59-FAE8BB94EAE1}"/>
          </ac:graphicFrameMkLst>
        </pc:graphicFrameChg>
      </pc:sldChg>
      <pc:sldChg chg="modSp mod">
        <pc:chgData name="Tường SKHĐT" userId="ab9568c39a88b08a" providerId="LiveId" clId="{04B915F6-82C3-461C-A009-4E83932BA335}" dt="2023-02-03T08:06:02.344" v="828" actId="1036"/>
        <pc:sldMkLst>
          <pc:docMk/>
          <pc:sldMk cId="2802465441" sldId="2147473522"/>
        </pc:sldMkLst>
        <pc:graphicFrameChg chg="mod modGraphic">
          <ac:chgData name="Tường SKHĐT" userId="ab9568c39a88b08a" providerId="LiveId" clId="{04B915F6-82C3-461C-A009-4E83932BA335}" dt="2023-02-03T08:06:02.344" v="828" actId="1036"/>
          <ac:graphicFrameMkLst>
            <pc:docMk/>
            <pc:sldMk cId="2802465441" sldId="2147473522"/>
            <ac:graphicFrameMk id="9" creationId="{0FC7DBA8-03B5-1D5D-B7A1-68AA6F62DF7E}"/>
          </ac:graphicFrameMkLst>
        </pc:graphicFrameChg>
      </pc:sldChg>
      <pc:sldChg chg="del">
        <pc:chgData name="Tường SKHĐT" userId="ab9568c39a88b08a" providerId="LiveId" clId="{04B915F6-82C3-461C-A009-4E83932BA335}" dt="2023-02-03T08:29:47.622" v="1470" actId="2696"/>
        <pc:sldMkLst>
          <pc:docMk/>
          <pc:sldMk cId="2107077082" sldId="2147473523"/>
        </pc:sldMkLst>
      </pc:sldChg>
      <pc:sldChg chg="addSp modSp mod">
        <pc:chgData name="Tường SKHĐT" userId="ab9568c39a88b08a" providerId="LiveId" clId="{04B915F6-82C3-461C-A009-4E83932BA335}" dt="2023-02-03T08:29:41.004" v="1469" actId="20577"/>
        <pc:sldMkLst>
          <pc:docMk/>
          <pc:sldMk cId="269414345" sldId="2147473528"/>
        </pc:sldMkLst>
        <pc:graphicFrameChg chg="mod modGraphic">
          <ac:chgData name="Tường SKHĐT" userId="ab9568c39a88b08a" providerId="LiveId" clId="{04B915F6-82C3-461C-A009-4E83932BA335}" dt="2023-02-03T08:29:41.004" v="1469" actId="20577"/>
          <ac:graphicFrameMkLst>
            <pc:docMk/>
            <pc:sldMk cId="269414345" sldId="2147473528"/>
            <ac:graphicFrameMk id="8" creationId="{B5E5335D-2EED-82AF-3A59-FAE8BB94EAE1}"/>
          </ac:graphicFrameMkLst>
        </pc:graphicFrameChg>
        <pc:picChg chg="add mod">
          <ac:chgData name="Tường SKHĐT" userId="ab9568c39a88b08a" providerId="LiveId" clId="{04B915F6-82C3-461C-A009-4E83932BA335}" dt="2023-02-03T08:24:42.481" v="1182" actId="14100"/>
          <ac:picMkLst>
            <pc:docMk/>
            <pc:sldMk cId="269414345" sldId="2147473528"/>
            <ac:picMk id="3" creationId="{FDA9AD67-878F-8631-AF7B-6D027FFB7EA0}"/>
          </ac:picMkLst>
        </pc:picChg>
      </pc:sldChg>
      <pc:sldChg chg="addSp delSp modSp add mod">
        <pc:chgData name="Tường SKHĐT" userId="ab9568c39a88b08a" providerId="LiveId" clId="{04B915F6-82C3-461C-A009-4E83932BA335}" dt="2023-02-03T08:22:26.042" v="1167" actId="14100"/>
        <pc:sldMkLst>
          <pc:docMk/>
          <pc:sldMk cId="3626927527" sldId="2147473529"/>
        </pc:sldMkLst>
        <pc:spChg chg="mod">
          <ac:chgData name="Tường SKHĐT" userId="ab9568c39a88b08a" providerId="LiveId" clId="{04B915F6-82C3-461C-A009-4E83932BA335}" dt="2023-02-03T08:19:33.316" v="1159" actId="20577"/>
          <ac:spMkLst>
            <pc:docMk/>
            <pc:sldMk cId="3626927527" sldId="2147473529"/>
            <ac:spMk id="25" creationId="{01DC26C3-E6F4-C27A-8624-3A65D81B6008}"/>
          </ac:spMkLst>
        </pc:spChg>
        <pc:graphicFrameChg chg="modGraphic">
          <ac:chgData name="Tường SKHĐT" userId="ab9568c39a88b08a" providerId="LiveId" clId="{04B915F6-82C3-461C-A009-4E83932BA335}" dt="2023-02-03T08:16:54.033" v="1104" actId="20577"/>
          <ac:graphicFrameMkLst>
            <pc:docMk/>
            <pc:sldMk cId="3626927527" sldId="2147473529"/>
            <ac:graphicFrameMk id="8" creationId="{B5E5335D-2EED-82AF-3A59-FAE8BB94EAE1}"/>
          </ac:graphicFrameMkLst>
        </pc:graphicFrameChg>
        <pc:picChg chg="add mod">
          <ac:chgData name="Tường SKHĐT" userId="ab9568c39a88b08a" providerId="LiveId" clId="{04B915F6-82C3-461C-A009-4E83932BA335}" dt="2023-02-03T08:17:00.296" v="1108" actId="1076"/>
          <ac:picMkLst>
            <pc:docMk/>
            <pc:sldMk cId="3626927527" sldId="2147473529"/>
            <ac:picMk id="2" creationId="{D332573F-550E-B385-BE21-241ECFBBB573}"/>
          </ac:picMkLst>
        </pc:picChg>
        <pc:picChg chg="add del mod">
          <ac:chgData name="Tường SKHĐT" userId="ab9568c39a88b08a" providerId="LiveId" clId="{04B915F6-82C3-461C-A009-4E83932BA335}" dt="2023-02-03T08:21:15.903" v="1161"/>
          <ac:picMkLst>
            <pc:docMk/>
            <pc:sldMk cId="3626927527" sldId="2147473529"/>
            <ac:picMk id="5" creationId="{FDD34609-0430-5897-69D3-481D750A2C82}"/>
          </ac:picMkLst>
        </pc:picChg>
        <pc:picChg chg="add mod">
          <ac:chgData name="Tường SKHĐT" userId="ab9568c39a88b08a" providerId="LiveId" clId="{04B915F6-82C3-461C-A009-4E83932BA335}" dt="2023-02-03T08:22:26.042" v="1167" actId="14100"/>
          <ac:picMkLst>
            <pc:docMk/>
            <pc:sldMk cId="3626927527" sldId="2147473529"/>
            <ac:picMk id="9" creationId="{2ED6FDAE-B540-11E3-282C-E003A11FADC8}"/>
          </ac:picMkLst>
        </pc:picChg>
      </pc:sldChg>
      <pc:sldChg chg="addSp delSp modSp add mod">
        <pc:chgData name="Tường SKHĐT" userId="ab9568c39a88b08a" providerId="LiveId" clId="{04B915F6-82C3-461C-A009-4E83932BA335}" dt="2023-02-10T09:47:10.437" v="1934" actId="20577"/>
        <pc:sldMkLst>
          <pc:docMk/>
          <pc:sldMk cId="3646831698" sldId="2147473530"/>
        </pc:sldMkLst>
        <pc:spChg chg="mod">
          <ac:chgData name="Tường SKHĐT" userId="ab9568c39a88b08a" providerId="LiveId" clId="{04B915F6-82C3-461C-A009-4E83932BA335}" dt="2023-02-10T09:47:10.437" v="1934" actId="20577"/>
          <ac:spMkLst>
            <pc:docMk/>
            <pc:sldMk cId="3646831698" sldId="2147473530"/>
            <ac:spMk id="9" creationId="{4219F808-181B-0133-F1E0-2E11448658B7}"/>
          </ac:spMkLst>
        </pc:spChg>
        <pc:graphicFrameChg chg="add mod">
          <ac:chgData name="Tường SKHĐT" userId="ab9568c39a88b08a" providerId="LiveId" clId="{04B915F6-82C3-461C-A009-4E83932BA335}" dt="2023-02-10T09:46:07.442" v="1907" actId="1076"/>
          <ac:graphicFrameMkLst>
            <pc:docMk/>
            <pc:sldMk cId="3646831698" sldId="2147473530"/>
            <ac:graphicFrameMk id="5" creationId="{92BC1D3D-BE5F-C86D-C9F4-7DAE02A5FD64}"/>
          </ac:graphicFrameMkLst>
        </pc:graphicFrameChg>
        <pc:graphicFrameChg chg="del">
          <ac:chgData name="Tường SKHĐT" userId="ab9568c39a88b08a" providerId="LiveId" clId="{04B915F6-82C3-461C-A009-4E83932BA335}" dt="2023-02-10T09:43:50.372" v="1877" actId="21"/>
          <ac:graphicFrameMkLst>
            <pc:docMk/>
            <pc:sldMk cId="3646831698" sldId="2147473530"/>
            <ac:graphicFrameMk id="7" creationId="{CDF9E660-BA15-1A9A-7559-410B93B0F210}"/>
          </ac:graphicFrameMkLst>
        </pc:graphicFrameChg>
      </pc:sldChg>
      <pc:sldChg chg="addSp delSp modSp add mod">
        <pc:chgData name="Tường SKHĐT" userId="ab9568c39a88b08a" providerId="LiveId" clId="{04B915F6-82C3-461C-A009-4E83932BA335}" dt="2023-02-10T09:46:43.482" v="1916" actId="14100"/>
        <pc:sldMkLst>
          <pc:docMk/>
          <pc:sldMk cId="3128358314" sldId="2147473531"/>
        </pc:sldMkLst>
        <pc:spChg chg="mod">
          <ac:chgData name="Tường SKHĐT" userId="ab9568c39a88b08a" providerId="LiveId" clId="{04B915F6-82C3-461C-A009-4E83932BA335}" dt="2023-02-10T09:46:43.482" v="1916" actId="14100"/>
          <ac:spMkLst>
            <pc:docMk/>
            <pc:sldMk cId="3128358314" sldId="2147473531"/>
            <ac:spMk id="9" creationId="{4219F808-181B-0133-F1E0-2E11448658B7}"/>
          </ac:spMkLst>
        </pc:spChg>
        <pc:graphicFrameChg chg="del">
          <ac:chgData name="Tường SKHĐT" userId="ab9568c39a88b08a" providerId="LiveId" clId="{04B915F6-82C3-461C-A009-4E83932BA335}" dt="2023-02-10T09:46:13.198" v="1909" actId="21"/>
          <ac:graphicFrameMkLst>
            <pc:docMk/>
            <pc:sldMk cId="3128358314" sldId="2147473531"/>
            <ac:graphicFrameMk id="5" creationId="{92BC1D3D-BE5F-C86D-C9F4-7DAE02A5FD64}"/>
          </ac:graphicFrameMkLst>
        </pc:graphicFrameChg>
        <pc:graphicFrameChg chg="add mod">
          <ac:chgData name="Tường SKHĐT" userId="ab9568c39a88b08a" providerId="LiveId" clId="{04B915F6-82C3-461C-A009-4E83932BA335}" dt="2023-02-10T09:46:39.466" v="1911" actId="1076"/>
          <ac:graphicFrameMkLst>
            <pc:docMk/>
            <pc:sldMk cId="3128358314" sldId="2147473531"/>
            <ac:graphicFrameMk id="6" creationId="{88A3AD12-12FE-A469-FC57-8E857FE23AC2}"/>
          </ac:graphicFrameMkLst>
        </pc:graphicFrameChg>
      </pc:sldChg>
      <pc:sldChg chg="addSp modSp add mod">
        <pc:chgData name="Tường SKHĐT" userId="ab9568c39a88b08a" providerId="LiveId" clId="{04B915F6-82C3-461C-A009-4E83932BA335}" dt="2023-02-10T09:49:12.198" v="1965" actId="1076"/>
        <pc:sldMkLst>
          <pc:docMk/>
          <pc:sldMk cId="535979438" sldId="2147473532"/>
        </pc:sldMkLst>
        <pc:spChg chg="mod">
          <ac:chgData name="Tường SKHĐT" userId="ab9568c39a88b08a" providerId="LiveId" clId="{04B915F6-82C3-461C-A009-4E83932BA335}" dt="2023-02-10T09:48:05.865" v="1954" actId="20577"/>
          <ac:spMkLst>
            <pc:docMk/>
            <pc:sldMk cId="535979438" sldId="2147473532"/>
            <ac:spMk id="9" creationId="{4219F808-181B-0133-F1E0-2E11448658B7}"/>
          </ac:spMkLst>
        </pc:spChg>
        <pc:graphicFrameChg chg="add mod">
          <ac:chgData name="Tường SKHĐT" userId="ab9568c39a88b08a" providerId="LiveId" clId="{04B915F6-82C3-461C-A009-4E83932BA335}" dt="2023-02-10T09:49:12.198" v="1965" actId="1076"/>
          <ac:graphicFrameMkLst>
            <pc:docMk/>
            <pc:sldMk cId="535979438" sldId="2147473532"/>
            <ac:graphicFrameMk id="5" creationId="{DF7AC959-7180-3A8F-443B-FEEE0D4E6BE6}"/>
          </ac:graphicFrameMkLst>
        </pc:graphicFrameChg>
      </pc:sldChg>
      <pc:sldChg chg="add del">
        <pc:chgData name="Tường SKHĐT" userId="ab9568c39a88b08a" providerId="LiveId" clId="{04B915F6-82C3-461C-A009-4E83932BA335}" dt="2023-02-10T09:47:58.119" v="1949" actId="2696"/>
        <pc:sldMkLst>
          <pc:docMk/>
          <pc:sldMk cId="2019493932" sldId="2147473532"/>
        </pc:sldMkLst>
      </pc:sldChg>
      <pc:sldChg chg="add del">
        <pc:chgData name="Tường SKHĐT" userId="ab9568c39a88b08a" providerId="LiveId" clId="{04B915F6-82C3-461C-A009-4E83932BA335}" dt="2023-02-10T09:48:01.317" v="1950" actId="2696"/>
        <pc:sldMkLst>
          <pc:docMk/>
          <pc:sldMk cId="70486280" sldId="2147473533"/>
        </pc:sldMkLst>
      </pc:sldChg>
      <pc:sldChg chg="addSp modSp add mod">
        <pc:chgData name="Tường SKHĐT" userId="ab9568c39a88b08a" providerId="LiveId" clId="{04B915F6-82C3-461C-A009-4E83932BA335}" dt="2023-02-10T09:49:27.181" v="1967" actId="1076"/>
        <pc:sldMkLst>
          <pc:docMk/>
          <pc:sldMk cId="1597647261" sldId="2147473533"/>
        </pc:sldMkLst>
        <pc:spChg chg="mod">
          <ac:chgData name="Tường SKHĐT" userId="ab9568c39a88b08a" providerId="LiveId" clId="{04B915F6-82C3-461C-A009-4E83932BA335}" dt="2023-02-10T09:48:09.256" v="1956" actId="20577"/>
          <ac:spMkLst>
            <pc:docMk/>
            <pc:sldMk cId="1597647261" sldId="2147473533"/>
            <ac:spMk id="9" creationId="{4219F808-181B-0133-F1E0-2E11448658B7}"/>
          </ac:spMkLst>
        </pc:spChg>
        <pc:graphicFrameChg chg="add mod">
          <ac:chgData name="Tường SKHĐT" userId="ab9568c39a88b08a" providerId="LiveId" clId="{04B915F6-82C3-461C-A009-4E83932BA335}" dt="2023-02-10T09:49:27.181" v="1967" actId="1076"/>
          <ac:graphicFrameMkLst>
            <pc:docMk/>
            <pc:sldMk cId="1597647261" sldId="2147473533"/>
            <ac:graphicFrameMk id="5" creationId="{AACDEBD1-75AD-1EDC-A4D0-1E54F37353E5}"/>
          </ac:graphicFrameMkLst>
        </pc:graphicFrameChg>
      </pc:sldChg>
      <pc:sldChg chg="addSp delSp modSp add mod">
        <pc:chgData name="Tường SKHĐT" userId="ab9568c39a88b08a" providerId="LiveId" clId="{04B915F6-82C3-461C-A009-4E83932BA335}" dt="2023-02-10T09:52:47.330" v="2008" actId="1076"/>
        <pc:sldMkLst>
          <pc:docMk/>
          <pc:sldMk cId="2834294815" sldId="2147473534"/>
        </pc:sldMkLst>
        <pc:spChg chg="mod">
          <ac:chgData name="Tường SKHĐT" userId="ab9568c39a88b08a" providerId="LiveId" clId="{04B915F6-82C3-461C-A009-4E83932BA335}" dt="2023-02-10T09:51:57.715" v="2005" actId="20577"/>
          <ac:spMkLst>
            <pc:docMk/>
            <pc:sldMk cId="2834294815" sldId="2147473534"/>
            <ac:spMk id="9" creationId="{4219F808-181B-0133-F1E0-2E11448658B7}"/>
          </ac:spMkLst>
        </pc:spChg>
        <pc:graphicFrameChg chg="add mod">
          <ac:chgData name="Tường SKHĐT" userId="ab9568c39a88b08a" providerId="LiveId" clId="{04B915F6-82C3-461C-A009-4E83932BA335}" dt="2023-02-10T09:52:47.330" v="2008" actId="1076"/>
          <ac:graphicFrameMkLst>
            <pc:docMk/>
            <pc:sldMk cId="2834294815" sldId="2147473534"/>
            <ac:graphicFrameMk id="5" creationId="{3CBF7AA3-C111-9B71-F491-DC793DD8AC37}"/>
          </ac:graphicFrameMkLst>
        </pc:graphicFrameChg>
        <pc:graphicFrameChg chg="del">
          <ac:chgData name="Tường SKHĐT" userId="ab9568c39a88b08a" providerId="LiveId" clId="{04B915F6-82C3-461C-A009-4E83932BA335}" dt="2023-02-10T09:52:02.481" v="2006" actId="21"/>
          <ac:graphicFrameMkLst>
            <pc:docMk/>
            <pc:sldMk cId="2834294815" sldId="2147473534"/>
            <ac:graphicFrameMk id="6" creationId="{0A137786-A635-3CE7-DEA1-75F4977CAB68}"/>
          </ac:graphicFrameMkLst>
        </pc:graphicFrameChg>
      </pc:sldChg>
      <pc:sldChg chg="modSp add del mod">
        <pc:chgData name="Tường SKHĐT" userId="ab9568c39a88b08a" providerId="LiveId" clId="{04B915F6-82C3-461C-A009-4E83932BA335}" dt="2023-02-10T09:51:14.911" v="1991" actId="2696"/>
        <pc:sldMkLst>
          <pc:docMk/>
          <pc:sldMk cId="4187792219" sldId="2147473534"/>
        </pc:sldMkLst>
        <pc:spChg chg="mod">
          <ac:chgData name="Tường SKHĐT" userId="ab9568c39a88b08a" providerId="LiveId" clId="{04B915F6-82C3-461C-A009-4E83932BA335}" dt="2023-02-10T09:49:45.900" v="1977" actId="20577"/>
          <ac:spMkLst>
            <pc:docMk/>
            <pc:sldMk cId="4187792219" sldId="2147473534"/>
            <ac:spMk id="9" creationId="{4219F808-181B-0133-F1E0-2E11448658B7}"/>
          </ac:spMkLst>
        </pc:spChg>
      </pc:sldChg>
      <pc:sldChg chg="modSp add del mod">
        <pc:chgData name="Tường SKHĐT" userId="ab9568c39a88b08a" providerId="LiveId" clId="{04B915F6-82C3-461C-A009-4E83932BA335}" dt="2023-02-10T09:51:17.067" v="1992" actId="2696"/>
        <pc:sldMkLst>
          <pc:docMk/>
          <pc:sldMk cId="963358054" sldId="2147473535"/>
        </pc:sldMkLst>
        <pc:spChg chg="mod">
          <ac:chgData name="Tường SKHĐT" userId="ab9568c39a88b08a" providerId="LiveId" clId="{04B915F6-82C3-461C-A009-4E83932BA335}" dt="2023-02-10T09:49:49.573" v="1979" actId="20577"/>
          <ac:spMkLst>
            <pc:docMk/>
            <pc:sldMk cId="963358054" sldId="2147473535"/>
            <ac:spMk id="9" creationId="{4219F808-181B-0133-F1E0-2E11448658B7}"/>
          </ac:spMkLst>
        </pc:spChg>
      </pc:sldChg>
      <pc:sldChg chg="addSp delSp modSp add mod">
        <pc:chgData name="Tường SKHĐT" userId="ab9568c39a88b08a" providerId="LiveId" clId="{04B915F6-82C3-461C-A009-4E83932BA335}" dt="2023-02-10T09:53:18.015" v="2013" actId="1076"/>
        <pc:sldMkLst>
          <pc:docMk/>
          <pc:sldMk cId="4264056332" sldId="2147473535"/>
        </pc:sldMkLst>
        <pc:spChg chg="mod">
          <ac:chgData name="Tường SKHĐT" userId="ab9568c39a88b08a" providerId="LiveId" clId="{04B915F6-82C3-461C-A009-4E83932BA335}" dt="2023-02-10T09:52:54.751" v="2010" actId="20577"/>
          <ac:spMkLst>
            <pc:docMk/>
            <pc:sldMk cId="4264056332" sldId="2147473535"/>
            <ac:spMk id="9" creationId="{4219F808-181B-0133-F1E0-2E11448658B7}"/>
          </ac:spMkLst>
        </pc:spChg>
        <pc:graphicFrameChg chg="add mod">
          <ac:chgData name="Tường SKHĐT" userId="ab9568c39a88b08a" providerId="LiveId" clId="{04B915F6-82C3-461C-A009-4E83932BA335}" dt="2023-02-10T09:53:18.015" v="2013" actId="1076"/>
          <ac:graphicFrameMkLst>
            <pc:docMk/>
            <pc:sldMk cId="4264056332" sldId="2147473535"/>
            <ac:graphicFrameMk id="5" creationId="{0B2E82E1-22E9-3E28-33CF-4686E431242A}"/>
          </ac:graphicFrameMkLst>
        </pc:graphicFrameChg>
        <pc:graphicFrameChg chg="del">
          <ac:chgData name="Tường SKHĐT" userId="ab9568c39a88b08a" providerId="LiveId" clId="{04B915F6-82C3-461C-A009-4E83932BA335}" dt="2023-02-10T09:52:59.519" v="2011" actId="21"/>
          <ac:graphicFrameMkLst>
            <pc:docMk/>
            <pc:sldMk cId="4264056332" sldId="2147473535"/>
            <ac:graphicFrameMk id="6" creationId="{0A137786-A635-3CE7-DEA1-75F4977CAB68}"/>
          </ac:graphicFrameMkLst>
        </pc:graphicFrameChg>
      </pc:sldChg>
      <pc:sldChg chg="addSp delSp modSp add mod">
        <pc:chgData name="Tường SKHĐT" userId="ab9568c39a88b08a" providerId="LiveId" clId="{04B915F6-82C3-461C-A009-4E83932BA335}" dt="2023-02-10T09:55:49.846" v="2106" actId="1076"/>
        <pc:sldMkLst>
          <pc:docMk/>
          <pc:sldMk cId="2858792857" sldId="2147473536"/>
        </pc:sldMkLst>
        <pc:spChg chg="mod">
          <ac:chgData name="Tường SKHĐT" userId="ab9568c39a88b08a" providerId="LiveId" clId="{04B915F6-82C3-461C-A009-4E83932BA335}" dt="2023-02-10T09:55:19.400" v="2098" actId="14100"/>
          <ac:spMkLst>
            <pc:docMk/>
            <pc:sldMk cId="2858792857" sldId="2147473536"/>
            <ac:spMk id="9" creationId="{4219F808-181B-0133-F1E0-2E11448658B7}"/>
          </ac:spMkLst>
        </pc:spChg>
        <pc:graphicFrameChg chg="add mod">
          <ac:chgData name="Tường SKHĐT" userId="ab9568c39a88b08a" providerId="LiveId" clId="{04B915F6-82C3-461C-A009-4E83932BA335}" dt="2023-02-10T09:55:49.846" v="2106" actId="1076"/>
          <ac:graphicFrameMkLst>
            <pc:docMk/>
            <pc:sldMk cId="2858792857" sldId="2147473536"/>
            <ac:graphicFrameMk id="5" creationId="{7F19F213-06A4-AA04-16F3-181E2BFFACF4}"/>
          </ac:graphicFrameMkLst>
        </pc:graphicFrameChg>
        <pc:graphicFrameChg chg="del">
          <ac:chgData name="Tường SKHĐT" userId="ab9568c39a88b08a" providerId="LiveId" clId="{04B915F6-82C3-461C-A009-4E83932BA335}" dt="2023-02-10T09:55:03.070" v="2086" actId="21"/>
          <ac:graphicFrameMkLst>
            <pc:docMk/>
            <pc:sldMk cId="2858792857" sldId="2147473536"/>
            <ac:graphicFrameMk id="6" creationId="{CD93C8CA-DA99-00EF-CB40-3CB09D71FCFC}"/>
          </ac:graphicFrameMkLst>
        </pc:graphicFrameChg>
      </pc:sldChg>
      <pc:sldChg chg="addSp delSp modSp add mod">
        <pc:chgData name="Tường SKHĐT" userId="ab9568c39a88b08a" providerId="LiveId" clId="{04B915F6-82C3-461C-A009-4E83932BA335}" dt="2023-02-10T09:56:05.767" v="2108" actId="1076"/>
        <pc:sldMkLst>
          <pc:docMk/>
          <pc:sldMk cId="706973953" sldId="2147473537"/>
        </pc:sldMkLst>
        <pc:spChg chg="mod">
          <ac:chgData name="Tường SKHĐT" userId="ab9568c39a88b08a" providerId="LiveId" clId="{04B915F6-82C3-461C-A009-4E83932BA335}" dt="2023-02-10T09:55:25.666" v="2104" actId="14100"/>
          <ac:spMkLst>
            <pc:docMk/>
            <pc:sldMk cId="706973953" sldId="2147473537"/>
            <ac:spMk id="9" creationId="{4219F808-181B-0133-F1E0-2E11448658B7}"/>
          </ac:spMkLst>
        </pc:spChg>
        <pc:graphicFrameChg chg="add mod">
          <ac:chgData name="Tường SKHĐT" userId="ab9568c39a88b08a" providerId="LiveId" clId="{04B915F6-82C3-461C-A009-4E83932BA335}" dt="2023-02-10T09:56:05.767" v="2108" actId="1076"/>
          <ac:graphicFrameMkLst>
            <pc:docMk/>
            <pc:sldMk cId="706973953" sldId="2147473537"/>
            <ac:graphicFrameMk id="5" creationId="{C23D9F2E-D384-5921-0186-A54660C075E7}"/>
          </ac:graphicFrameMkLst>
        </pc:graphicFrameChg>
        <pc:graphicFrameChg chg="del">
          <ac:chgData name="Tường SKHĐT" userId="ab9568c39a88b08a" providerId="LiveId" clId="{04B915F6-82C3-461C-A009-4E83932BA335}" dt="2023-02-10T09:55:06.102" v="2087" actId="21"/>
          <ac:graphicFrameMkLst>
            <pc:docMk/>
            <pc:sldMk cId="706973953" sldId="2147473537"/>
            <ac:graphicFrameMk id="6" creationId="{CD93C8CA-DA99-00EF-CB40-3CB09D71FCFC}"/>
          </ac:graphicFrameMkLst>
        </pc:graphicFrameChg>
      </pc:sldChg>
      <pc:sldChg chg="addSp delSp modSp add mod">
        <pc:chgData name="Tường SKHĐT" userId="ab9568c39a88b08a" providerId="LiveId" clId="{04B915F6-82C3-461C-A009-4E83932BA335}" dt="2023-02-10T09:57:58.647" v="2131" actId="1076"/>
        <pc:sldMkLst>
          <pc:docMk/>
          <pc:sldMk cId="3981198296" sldId="2147473538"/>
        </pc:sldMkLst>
        <pc:spChg chg="mod">
          <ac:chgData name="Tường SKHĐT" userId="ab9568c39a88b08a" providerId="LiveId" clId="{04B915F6-82C3-461C-A009-4E83932BA335}" dt="2023-02-10T09:57:13.392" v="2125" actId="20577"/>
          <ac:spMkLst>
            <pc:docMk/>
            <pc:sldMk cId="3981198296" sldId="2147473538"/>
            <ac:spMk id="9" creationId="{4219F808-181B-0133-F1E0-2E11448658B7}"/>
          </ac:spMkLst>
        </pc:spChg>
        <pc:graphicFrameChg chg="add mod">
          <ac:chgData name="Tường SKHĐT" userId="ab9568c39a88b08a" providerId="LiveId" clId="{04B915F6-82C3-461C-A009-4E83932BA335}" dt="2023-02-10T09:57:58.647" v="2131" actId="1076"/>
          <ac:graphicFrameMkLst>
            <pc:docMk/>
            <pc:sldMk cId="3981198296" sldId="2147473538"/>
            <ac:graphicFrameMk id="5" creationId="{AA01FC00-9E69-7AF3-5AF7-3DB8D2000DEE}"/>
          </ac:graphicFrameMkLst>
        </pc:graphicFrameChg>
        <pc:graphicFrameChg chg="del">
          <ac:chgData name="Tường SKHĐT" userId="ab9568c39a88b08a" providerId="LiveId" clId="{04B915F6-82C3-461C-A009-4E83932BA335}" dt="2023-02-10T09:57:25.143" v="2129" actId="21"/>
          <ac:graphicFrameMkLst>
            <pc:docMk/>
            <pc:sldMk cId="3981198296" sldId="2147473538"/>
            <ac:graphicFrameMk id="6" creationId="{DBFCD2E3-EA63-A1FE-72E1-3617BB71AA20}"/>
          </ac:graphicFrameMkLst>
        </pc:graphicFrameChg>
      </pc:sldChg>
      <pc:sldChg chg="addSp delSp modSp add mod">
        <pc:chgData name="Tường SKHĐT" userId="ab9568c39a88b08a" providerId="LiveId" clId="{04B915F6-82C3-461C-A009-4E83932BA335}" dt="2023-02-10T09:59:30.544" v="2149" actId="14100"/>
        <pc:sldMkLst>
          <pc:docMk/>
          <pc:sldMk cId="2308607743" sldId="2147473539"/>
        </pc:sldMkLst>
        <pc:spChg chg="mod">
          <ac:chgData name="Tường SKHĐT" userId="ab9568c39a88b08a" providerId="LiveId" clId="{04B915F6-82C3-461C-A009-4E83932BA335}" dt="2023-02-10T09:57:17.017" v="2127" actId="20577"/>
          <ac:spMkLst>
            <pc:docMk/>
            <pc:sldMk cId="2308607743" sldId="2147473539"/>
            <ac:spMk id="9" creationId="{4219F808-181B-0133-F1E0-2E11448658B7}"/>
          </ac:spMkLst>
        </pc:spChg>
        <pc:graphicFrameChg chg="add del mod modGraphic">
          <ac:chgData name="Tường SKHĐT" userId="ab9568c39a88b08a" providerId="LiveId" clId="{04B915F6-82C3-461C-A009-4E83932BA335}" dt="2023-02-10T09:59:06.420" v="2146" actId="21"/>
          <ac:graphicFrameMkLst>
            <pc:docMk/>
            <pc:sldMk cId="2308607743" sldId="2147473539"/>
            <ac:graphicFrameMk id="5" creationId="{7C71F7A6-4879-CE33-F89D-04D3F0BCB72F}"/>
          </ac:graphicFrameMkLst>
        </pc:graphicFrameChg>
        <pc:graphicFrameChg chg="del">
          <ac:chgData name="Tường SKHĐT" userId="ab9568c39a88b08a" providerId="LiveId" clId="{04B915F6-82C3-461C-A009-4E83932BA335}" dt="2023-02-10T09:57:19.580" v="2128" actId="21"/>
          <ac:graphicFrameMkLst>
            <pc:docMk/>
            <pc:sldMk cId="2308607743" sldId="2147473539"/>
            <ac:graphicFrameMk id="6" creationId="{DBFCD2E3-EA63-A1FE-72E1-3617BB71AA20}"/>
          </ac:graphicFrameMkLst>
        </pc:graphicFrameChg>
        <pc:graphicFrameChg chg="add mod modGraphic">
          <ac:chgData name="Tường SKHĐT" userId="ab9568c39a88b08a" providerId="LiveId" clId="{04B915F6-82C3-461C-A009-4E83932BA335}" dt="2023-02-10T09:59:30.544" v="2149" actId="14100"/>
          <ac:graphicFrameMkLst>
            <pc:docMk/>
            <pc:sldMk cId="2308607743" sldId="2147473539"/>
            <ac:graphicFrameMk id="7" creationId="{21BD3771-12D7-0FB0-5ACB-EA07A2812909}"/>
          </ac:graphicFrameMkLst>
        </pc:graphicFrameChg>
      </pc:sldChg>
      <pc:sldChg chg="addSp delSp modSp add mod">
        <pc:chgData name="Tường SKHĐT" userId="ab9568c39a88b08a" providerId="LiveId" clId="{04B915F6-82C3-461C-A009-4E83932BA335}" dt="2023-02-10T10:02:13.304" v="2184" actId="1076"/>
        <pc:sldMkLst>
          <pc:docMk/>
          <pc:sldMk cId="2125893299" sldId="2147473540"/>
        </pc:sldMkLst>
        <pc:spChg chg="mod">
          <ac:chgData name="Tường SKHĐT" userId="ab9568c39a88b08a" providerId="LiveId" clId="{04B915F6-82C3-461C-A009-4E83932BA335}" dt="2023-02-10T10:00:29.641" v="2160" actId="20577"/>
          <ac:spMkLst>
            <pc:docMk/>
            <pc:sldMk cId="2125893299" sldId="2147473540"/>
            <ac:spMk id="9" creationId="{4219F808-181B-0133-F1E0-2E11448658B7}"/>
          </ac:spMkLst>
        </pc:spChg>
        <pc:graphicFrameChg chg="add del mod modGraphic">
          <ac:chgData name="Tường SKHĐT" userId="ab9568c39a88b08a" providerId="LiveId" clId="{04B915F6-82C3-461C-A009-4E83932BA335}" dt="2023-02-10T10:01:56.094" v="2182" actId="21"/>
          <ac:graphicFrameMkLst>
            <pc:docMk/>
            <pc:sldMk cId="2125893299" sldId="2147473540"/>
            <ac:graphicFrameMk id="5" creationId="{5B1415B1-C98D-968B-78D6-F8237C9E6286}"/>
          </ac:graphicFrameMkLst>
        </pc:graphicFrameChg>
        <pc:graphicFrameChg chg="del">
          <ac:chgData name="Tường SKHĐT" userId="ab9568c39a88b08a" providerId="LiveId" clId="{04B915F6-82C3-461C-A009-4E83932BA335}" dt="2023-02-10T10:00:40.564" v="2166" actId="21"/>
          <ac:graphicFrameMkLst>
            <pc:docMk/>
            <pc:sldMk cId="2125893299" sldId="2147473540"/>
            <ac:graphicFrameMk id="6" creationId="{9C1DC163-20F0-C0A7-C861-C3B47590DE73}"/>
          </ac:graphicFrameMkLst>
        </pc:graphicFrameChg>
        <pc:graphicFrameChg chg="add mod">
          <ac:chgData name="Tường SKHĐT" userId="ab9568c39a88b08a" providerId="LiveId" clId="{04B915F6-82C3-461C-A009-4E83932BA335}" dt="2023-02-10T10:02:13.304" v="2184" actId="1076"/>
          <ac:graphicFrameMkLst>
            <pc:docMk/>
            <pc:sldMk cId="2125893299" sldId="2147473540"/>
            <ac:graphicFrameMk id="7" creationId="{8D55D5DD-50B9-FAC9-86ED-0AC8BB04766A}"/>
          </ac:graphicFrameMkLst>
        </pc:graphicFrameChg>
      </pc:sldChg>
      <pc:sldChg chg="addSp delSp modSp add mod">
        <pc:chgData name="Tường SKHĐT" userId="ab9568c39a88b08a" providerId="LiveId" clId="{04B915F6-82C3-461C-A009-4E83932BA335}" dt="2023-02-10T10:01:46.577" v="2181" actId="1076"/>
        <pc:sldMkLst>
          <pc:docMk/>
          <pc:sldMk cId="3893894030" sldId="2147473541"/>
        </pc:sldMkLst>
        <pc:spChg chg="mod">
          <ac:chgData name="Tường SKHĐT" userId="ab9568c39a88b08a" providerId="LiveId" clId="{04B915F6-82C3-461C-A009-4E83932BA335}" dt="2023-02-10T10:01:28.209" v="2179" actId="14100"/>
          <ac:spMkLst>
            <pc:docMk/>
            <pc:sldMk cId="3893894030" sldId="2147473541"/>
            <ac:spMk id="9" creationId="{4219F808-181B-0133-F1E0-2E11448658B7}"/>
          </ac:spMkLst>
        </pc:spChg>
        <pc:graphicFrameChg chg="add mod">
          <ac:chgData name="Tường SKHĐT" userId="ab9568c39a88b08a" providerId="LiveId" clId="{04B915F6-82C3-461C-A009-4E83932BA335}" dt="2023-02-10T10:01:46.577" v="2181" actId="1076"/>
          <ac:graphicFrameMkLst>
            <pc:docMk/>
            <pc:sldMk cId="3893894030" sldId="2147473541"/>
            <ac:graphicFrameMk id="5" creationId="{F8E3C401-F5E8-2695-943C-E78AD6C3E9B4}"/>
          </ac:graphicFrameMkLst>
        </pc:graphicFrameChg>
        <pc:graphicFrameChg chg="del">
          <ac:chgData name="Tường SKHĐT" userId="ab9568c39a88b08a" providerId="LiveId" clId="{04B915F6-82C3-461C-A009-4E83932BA335}" dt="2023-02-10T10:01:23.818" v="2174" actId="21"/>
          <ac:graphicFrameMkLst>
            <pc:docMk/>
            <pc:sldMk cId="3893894030" sldId="2147473541"/>
            <ac:graphicFrameMk id="6" creationId="{9C1DC163-20F0-C0A7-C861-C3B47590DE73}"/>
          </ac:graphicFrameMkLst>
        </pc:graphicFrameChg>
      </pc:sldChg>
      <pc:sldChg chg="addSp delSp modSp add mod">
        <pc:chgData name="Tường SKHĐT" userId="ab9568c39a88b08a" providerId="LiveId" clId="{04B915F6-82C3-461C-A009-4E83932BA335}" dt="2023-02-10T10:03:29.959" v="2204" actId="1076"/>
        <pc:sldMkLst>
          <pc:docMk/>
          <pc:sldMk cId="2520302701" sldId="2147473542"/>
        </pc:sldMkLst>
        <pc:spChg chg="mod">
          <ac:chgData name="Tường SKHĐT" userId="ab9568c39a88b08a" providerId="LiveId" clId="{04B915F6-82C3-461C-A009-4E83932BA335}" dt="2023-02-10T10:03:07.889" v="2199" actId="20577"/>
          <ac:spMkLst>
            <pc:docMk/>
            <pc:sldMk cId="2520302701" sldId="2147473542"/>
            <ac:spMk id="9" creationId="{4219F808-181B-0133-F1E0-2E11448658B7}"/>
          </ac:spMkLst>
        </pc:spChg>
        <pc:graphicFrameChg chg="add mod">
          <ac:chgData name="Tường SKHĐT" userId="ab9568c39a88b08a" providerId="LiveId" clId="{04B915F6-82C3-461C-A009-4E83932BA335}" dt="2023-02-10T10:03:29.959" v="2204" actId="1076"/>
          <ac:graphicFrameMkLst>
            <pc:docMk/>
            <pc:sldMk cId="2520302701" sldId="2147473542"/>
            <ac:graphicFrameMk id="5" creationId="{210EDD9F-66D9-786F-B3A8-45ED70663B49}"/>
          </ac:graphicFrameMkLst>
        </pc:graphicFrameChg>
        <pc:graphicFrameChg chg="del">
          <ac:chgData name="Tường SKHĐT" userId="ab9568c39a88b08a" providerId="LiveId" clId="{04B915F6-82C3-461C-A009-4E83932BA335}" dt="2023-02-10T10:03:06.153" v="2197" actId="21"/>
          <ac:graphicFrameMkLst>
            <pc:docMk/>
            <pc:sldMk cId="2520302701" sldId="2147473542"/>
            <ac:graphicFrameMk id="6" creationId="{9C5C77D1-BC76-A574-CF5E-09FF99B54550}"/>
          </ac:graphicFrameMkLst>
        </pc:graphicFrameChg>
      </pc:sldChg>
      <pc:sldChg chg="addSp delSp modSp add mod">
        <pc:chgData name="Tường SKHĐT" userId="ab9568c39a88b08a" providerId="LiveId" clId="{04B915F6-82C3-461C-A009-4E83932BA335}" dt="2023-02-10T10:03:44.797" v="2206" actId="1076"/>
        <pc:sldMkLst>
          <pc:docMk/>
          <pc:sldMk cId="3642600558" sldId="2147473543"/>
        </pc:sldMkLst>
        <pc:spChg chg="mod">
          <ac:chgData name="Tường SKHĐT" userId="ab9568c39a88b08a" providerId="LiveId" clId="{04B915F6-82C3-461C-A009-4E83932BA335}" dt="2023-02-10T10:03:11.652" v="2201" actId="20577"/>
          <ac:spMkLst>
            <pc:docMk/>
            <pc:sldMk cId="3642600558" sldId="2147473543"/>
            <ac:spMk id="9" creationId="{4219F808-181B-0133-F1E0-2E11448658B7}"/>
          </ac:spMkLst>
        </pc:spChg>
        <pc:graphicFrameChg chg="add mod">
          <ac:chgData name="Tường SKHĐT" userId="ab9568c39a88b08a" providerId="LiveId" clId="{04B915F6-82C3-461C-A009-4E83932BA335}" dt="2023-02-10T10:03:44.797" v="2206" actId="1076"/>
          <ac:graphicFrameMkLst>
            <pc:docMk/>
            <pc:sldMk cId="3642600558" sldId="2147473543"/>
            <ac:graphicFrameMk id="5" creationId="{39C43D7B-A3CF-16CD-4127-EA81BC543ABE}"/>
          </ac:graphicFrameMkLst>
        </pc:graphicFrameChg>
        <pc:graphicFrameChg chg="del">
          <ac:chgData name="Tường SKHĐT" userId="ab9568c39a88b08a" providerId="LiveId" clId="{04B915F6-82C3-461C-A009-4E83932BA335}" dt="2023-02-10T10:03:13.525" v="2202" actId="21"/>
          <ac:graphicFrameMkLst>
            <pc:docMk/>
            <pc:sldMk cId="3642600558" sldId="2147473543"/>
            <ac:graphicFrameMk id="6" creationId="{9C5C77D1-BC76-A574-CF5E-09FF99B54550}"/>
          </ac:graphicFrameMkLst>
        </pc:graphicFrameChg>
      </pc:sldChg>
      <pc:sldChg chg="addSp delSp modSp add mod">
        <pc:chgData name="Tường SKHĐT" userId="ab9568c39a88b08a" providerId="LiveId" clId="{04B915F6-82C3-461C-A009-4E83932BA335}" dt="2023-02-10T10:05:15.868" v="2226" actId="1076"/>
        <pc:sldMkLst>
          <pc:docMk/>
          <pc:sldMk cId="3789364920" sldId="2147473544"/>
        </pc:sldMkLst>
        <pc:spChg chg="mod">
          <ac:chgData name="Tường SKHĐT" userId="ab9568c39a88b08a" providerId="LiveId" clId="{04B915F6-82C3-461C-A009-4E83932BA335}" dt="2023-02-10T10:03:58.015" v="2216" actId="20577"/>
          <ac:spMkLst>
            <pc:docMk/>
            <pc:sldMk cId="3789364920" sldId="2147473544"/>
            <ac:spMk id="9" creationId="{4219F808-181B-0133-F1E0-2E11448658B7}"/>
          </ac:spMkLst>
        </pc:spChg>
        <pc:graphicFrameChg chg="add del mod">
          <ac:chgData name="Tường SKHĐT" userId="ab9568c39a88b08a" providerId="LiveId" clId="{04B915F6-82C3-461C-A009-4E83932BA335}" dt="2023-02-10T10:04:41.240" v="2224"/>
          <ac:graphicFrameMkLst>
            <pc:docMk/>
            <pc:sldMk cId="3789364920" sldId="2147473544"/>
            <ac:graphicFrameMk id="5" creationId="{3D8DC38D-BF58-3E16-0EFF-96071561B899}"/>
          </ac:graphicFrameMkLst>
        </pc:graphicFrameChg>
        <pc:graphicFrameChg chg="add mod">
          <ac:chgData name="Tường SKHĐT" userId="ab9568c39a88b08a" providerId="LiveId" clId="{04B915F6-82C3-461C-A009-4E83932BA335}" dt="2023-02-10T10:05:15.868" v="2226" actId="1076"/>
          <ac:graphicFrameMkLst>
            <pc:docMk/>
            <pc:sldMk cId="3789364920" sldId="2147473544"/>
            <ac:graphicFrameMk id="6" creationId="{6C788EDB-436A-ECC3-7366-A1BB82E382D3}"/>
          </ac:graphicFrameMkLst>
        </pc:graphicFrameChg>
      </pc:sldChg>
      <pc:sldChg chg="addSp modSp add mod">
        <pc:chgData name="Tường SKHĐT" userId="ab9568c39a88b08a" providerId="LiveId" clId="{04B915F6-82C3-461C-A009-4E83932BA335}" dt="2023-02-10T10:05:34.574" v="2228" actId="1076"/>
        <pc:sldMkLst>
          <pc:docMk/>
          <pc:sldMk cId="1190189608" sldId="2147473545"/>
        </pc:sldMkLst>
        <pc:spChg chg="mod">
          <ac:chgData name="Tường SKHĐT" userId="ab9568c39a88b08a" providerId="LiveId" clId="{04B915F6-82C3-461C-A009-4E83932BA335}" dt="2023-02-10T10:04:00.906" v="2218" actId="20577"/>
          <ac:spMkLst>
            <pc:docMk/>
            <pc:sldMk cId="1190189608" sldId="2147473545"/>
            <ac:spMk id="9" creationId="{4219F808-181B-0133-F1E0-2E11448658B7}"/>
          </ac:spMkLst>
        </pc:spChg>
        <pc:graphicFrameChg chg="add mod">
          <ac:chgData name="Tường SKHĐT" userId="ab9568c39a88b08a" providerId="LiveId" clId="{04B915F6-82C3-461C-A009-4E83932BA335}" dt="2023-02-10T10:05:34.574" v="2228" actId="1076"/>
          <ac:graphicFrameMkLst>
            <pc:docMk/>
            <pc:sldMk cId="1190189608" sldId="2147473545"/>
            <ac:graphicFrameMk id="5" creationId="{E4968281-6483-8039-DFBC-4705E18C4865}"/>
          </ac:graphicFrameMkLst>
        </pc:graphicFrameChg>
      </pc:sldChg>
    </pc:docChg>
  </pc:docChgLst>
  <pc:docChgLst>
    <pc:chgData name="Tường SKHĐT" userId="ab9568c39a88b08a" providerId="LiveId" clId="{C9C9E8F3-8FCD-4EE8-870E-E66814DBD785}"/>
    <pc:docChg chg="undo redo custSel addSld delSld modSld">
      <pc:chgData name="Tường SKHĐT" userId="ab9568c39a88b08a" providerId="LiveId" clId="{C9C9E8F3-8FCD-4EE8-870E-E66814DBD785}" dt="2022-11-23T09:01:27.479" v="4214" actId="20577"/>
      <pc:docMkLst>
        <pc:docMk/>
      </pc:docMkLst>
      <pc:sldChg chg="modSp mod">
        <pc:chgData name="Tường SKHĐT" userId="ab9568c39a88b08a" providerId="LiveId" clId="{C9C9E8F3-8FCD-4EE8-870E-E66814DBD785}" dt="2022-11-23T09:01:27.479" v="4214" actId="20577"/>
        <pc:sldMkLst>
          <pc:docMk/>
          <pc:sldMk cId="0" sldId="261"/>
        </pc:sldMkLst>
        <pc:spChg chg="mod">
          <ac:chgData name="Tường SKHĐT" userId="ab9568c39a88b08a" providerId="LiveId" clId="{C9C9E8F3-8FCD-4EE8-870E-E66814DBD785}" dt="2022-11-23T07:17:32.947" v="1839" actId="20577"/>
          <ac:spMkLst>
            <pc:docMk/>
            <pc:sldMk cId="0" sldId="261"/>
            <ac:spMk id="3" creationId="{A0D5D58A-756E-802D-A09E-1BEA6D184E77}"/>
          </ac:spMkLst>
        </pc:spChg>
        <pc:spChg chg="mod">
          <ac:chgData name="Tường SKHĐT" userId="ab9568c39a88b08a" providerId="LiveId" clId="{C9C9E8F3-8FCD-4EE8-870E-E66814DBD785}" dt="2022-11-23T07:23:33.771" v="2000" actId="20577"/>
          <ac:spMkLst>
            <pc:docMk/>
            <pc:sldMk cId="0" sldId="261"/>
            <ac:spMk id="7" creationId="{7B32A53C-F3B7-D1B5-5C6B-C581C879BE81}"/>
          </ac:spMkLst>
        </pc:spChg>
        <pc:spChg chg="mod">
          <ac:chgData name="Tường SKHĐT" userId="ab9568c39a88b08a" providerId="LiveId" clId="{C9C9E8F3-8FCD-4EE8-870E-E66814DBD785}" dt="2022-11-23T09:01:18.051" v="4204" actId="20577"/>
          <ac:spMkLst>
            <pc:docMk/>
            <pc:sldMk cId="0" sldId="261"/>
            <ac:spMk id="9" creationId="{CCBC95F4-8D55-1939-613D-578BAAF814C2}"/>
          </ac:spMkLst>
        </pc:spChg>
        <pc:spChg chg="mod">
          <ac:chgData name="Tường SKHĐT" userId="ab9568c39a88b08a" providerId="LiveId" clId="{C9C9E8F3-8FCD-4EE8-870E-E66814DBD785}" dt="2022-11-23T07:18:25.749" v="1889" actId="20577"/>
          <ac:spMkLst>
            <pc:docMk/>
            <pc:sldMk cId="0" sldId="261"/>
            <ac:spMk id="16" creationId="{CD1FFBD1-4EFA-ED54-8F81-E3C9559069D4}"/>
          </ac:spMkLst>
        </pc:spChg>
        <pc:spChg chg="mod">
          <ac:chgData name="Tường SKHĐT" userId="ab9568c39a88b08a" providerId="LiveId" clId="{C9C9E8F3-8FCD-4EE8-870E-E66814DBD785}" dt="2022-11-23T09:01:27.479" v="4214" actId="20577"/>
          <ac:spMkLst>
            <pc:docMk/>
            <pc:sldMk cId="0" sldId="261"/>
            <ac:spMk id="17" creationId="{00EFBE51-FFB5-F41A-FAB5-3C930C6D35C3}"/>
          </ac:spMkLst>
        </pc:spChg>
        <pc:spChg chg="mod">
          <ac:chgData name="Tường SKHĐT" userId="ab9568c39a88b08a" providerId="LiveId" clId="{C9C9E8F3-8FCD-4EE8-870E-E66814DBD785}" dt="2022-11-23T07:17:58.544" v="1857" actId="1076"/>
          <ac:spMkLst>
            <pc:docMk/>
            <pc:sldMk cId="0" sldId="261"/>
            <ac:spMk id="19" creationId="{122A9A1C-AFFE-3821-B2D0-B1BF037AF2EA}"/>
          </ac:spMkLst>
        </pc:spChg>
        <pc:spChg chg="mod">
          <ac:chgData name="Tường SKHĐT" userId="ab9568c39a88b08a" providerId="LiveId" clId="{C9C9E8F3-8FCD-4EE8-870E-E66814DBD785}" dt="2022-11-23T07:17:46.684" v="1853" actId="20577"/>
          <ac:spMkLst>
            <pc:docMk/>
            <pc:sldMk cId="0" sldId="261"/>
            <ac:spMk id="720" creationId="{00000000-0000-0000-0000-000000000000}"/>
          </ac:spMkLst>
        </pc:spChg>
        <pc:spChg chg="mod">
          <ac:chgData name="Tường SKHĐT" userId="ab9568c39a88b08a" providerId="LiveId" clId="{C9C9E8F3-8FCD-4EE8-870E-E66814DBD785}" dt="2022-11-23T07:18:09.279" v="1875" actId="20577"/>
          <ac:spMkLst>
            <pc:docMk/>
            <pc:sldMk cId="0" sldId="261"/>
            <ac:spMk id="726" creationId="{00000000-0000-0000-0000-000000000000}"/>
          </ac:spMkLst>
        </pc:spChg>
      </pc:sldChg>
      <pc:sldChg chg="modSp mod">
        <pc:chgData name="Tường SKHĐT" userId="ab9568c39a88b08a" providerId="LiveId" clId="{C9C9E8F3-8FCD-4EE8-870E-E66814DBD785}" dt="2022-11-23T07:17:07.284" v="1811" actId="20577"/>
        <pc:sldMkLst>
          <pc:docMk/>
          <pc:sldMk cId="0" sldId="263"/>
        </pc:sldMkLst>
        <pc:spChg chg="mod">
          <ac:chgData name="Tường SKHĐT" userId="ab9568c39a88b08a" providerId="LiveId" clId="{C9C9E8F3-8FCD-4EE8-870E-E66814DBD785}" dt="2022-11-23T07:16:18.842" v="1782" actId="20577"/>
          <ac:spMkLst>
            <pc:docMk/>
            <pc:sldMk cId="0" sldId="263"/>
            <ac:spMk id="50" creationId="{00000000-0000-0000-0000-000000000000}"/>
          </ac:spMkLst>
        </pc:spChg>
        <pc:spChg chg="mod">
          <ac:chgData name="Tường SKHĐT" userId="ab9568c39a88b08a" providerId="LiveId" clId="{C9C9E8F3-8FCD-4EE8-870E-E66814DBD785}" dt="2022-11-23T07:16:30.631" v="1794" actId="20577"/>
          <ac:spMkLst>
            <pc:docMk/>
            <pc:sldMk cId="0" sldId="263"/>
            <ac:spMk id="65" creationId="{00000000-0000-0000-0000-000000000000}"/>
          </ac:spMkLst>
        </pc:spChg>
        <pc:spChg chg="mod">
          <ac:chgData name="Tường SKHĐT" userId="ab9568c39a88b08a" providerId="LiveId" clId="{C9C9E8F3-8FCD-4EE8-870E-E66814DBD785}" dt="2022-11-23T07:16:45.328" v="1797" actId="688"/>
          <ac:spMkLst>
            <pc:docMk/>
            <pc:sldMk cId="0" sldId="263"/>
            <ac:spMk id="66" creationId="{76FC2223-CBDC-4B1C-A8C6-0DBB61B65684}"/>
          </ac:spMkLst>
        </pc:spChg>
        <pc:spChg chg="mod">
          <ac:chgData name="Tường SKHĐT" userId="ab9568c39a88b08a" providerId="LiveId" clId="{C9C9E8F3-8FCD-4EE8-870E-E66814DBD785}" dt="2022-11-23T07:17:07.284" v="1811" actId="20577"/>
          <ac:spMkLst>
            <pc:docMk/>
            <pc:sldMk cId="0" sldId="263"/>
            <ac:spMk id="67" creationId="{00000000-0000-0000-0000-000000000000}"/>
          </ac:spMkLst>
        </pc:spChg>
      </pc:sldChg>
      <pc:sldChg chg="modSp mod modAnim">
        <pc:chgData name="Tường SKHĐT" userId="ab9568c39a88b08a" providerId="LiveId" clId="{C9C9E8F3-8FCD-4EE8-870E-E66814DBD785}" dt="2022-11-23T03:45:35.871" v="862" actId="14100"/>
        <pc:sldMkLst>
          <pc:docMk/>
          <pc:sldMk cId="3305523253" sldId="405"/>
        </pc:sldMkLst>
        <pc:spChg chg="mod">
          <ac:chgData name="Tường SKHĐT" userId="ab9568c39a88b08a" providerId="LiveId" clId="{C9C9E8F3-8FCD-4EE8-870E-E66814DBD785}" dt="2022-11-23T03:45:06.718" v="832" actId="403"/>
          <ac:spMkLst>
            <pc:docMk/>
            <pc:sldMk cId="3305523253" sldId="405"/>
            <ac:spMk id="2" creationId="{00000000-0000-0000-0000-000000000000}"/>
          </ac:spMkLst>
        </pc:spChg>
        <pc:spChg chg="mod">
          <ac:chgData name="Tường SKHĐT" userId="ab9568c39a88b08a" providerId="LiveId" clId="{C9C9E8F3-8FCD-4EE8-870E-E66814DBD785}" dt="2022-11-23T03:45:18.747" v="859" actId="1035"/>
          <ac:spMkLst>
            <pc:docMk/>
            <pc:sldMk cId="3305523253" sldId="405"/>
            <ac:spMk id="3" creationId="{48C5AA30-B236-37F0-69A7-41FCE41C3A2B}"/>
          </ac:spMkLst>
        </pc:spChg>
        <pc:spChg chg="mod">
          <ac:chgData name="Tường SKHĐT" userId="ab9568c39a88b08a" providerId="LiveId" clId="{C9C9E8F3-8FCD-4EE8-870E-E66814DBD785}" dt="2022-11-23T03:45:18.747" v="859" actId="1035"/>
          <ac:spMkLst>
            <pc:docMk/>
            <pc:sldMk cId="3305523253" sldId="405"/>
            <ac:spMk id="5" creationId="{00000000-0000-0000-0000-000000000000}"/>
          </ac:spMkLst>
        </pc:spChg>
        <pc:spChg chg="mod">
          <ac:chgData name="Tường SKHĐT" userId="ab9568c39a88b08a" providerId="LiveId" clId="{C9C9E8F3-8FCD-4EE8-870E-E66814DBD785}" dt="2022-11-23T03:30:01.001" v="177" actId="20577"/>
          <ac:spMkLst>
            <pc:docMk/>
            <pc:sldMk cId="3305523253" sldId="405"/>
            <ac:spMk id="6" creationId="{78C44184-0452-01DB-9A8A-760F961CBC17}"/>
          </ac:spMkLst>
        </pc:spChg>
        <pc:spChg chg="mod">
          <ac:chgData name="Tường SKHĐT" userId="ab9568c39a88b08a" providerId="LiveId" clId="{C9C9E8F3-8FCD-4EE8-870E-E66814DBD785}" dt="2022-11-23T03:45:18.747" v="859" actId="1035"/>
          <ac:spMkLst>
            <pc:docMk/>
            <pc:sldMk cId="3305523253" sldId="405"/>
            <ac:spMk id="9" creationId="{00000000-0000-0000-0000-000000000000}"/>
          </ac:spMkLst>
        </pc:spChg>
        <pc:spChg chg="mod">
          <ac:chgData name="Tường SKHĐT" userId="ab9568c39a88b08a" providerId="LiveId" clId="{C9C9E8F3-8FCD-4EE8-870E-E66814DBD785}" dt="2022-11-23T03:45:18.747" v="859" actId="1035"/>
          <ac:spMkLst>
            <pc:docMk/>
            <pc:sldMk cId="3305523253" sldId="405"/>
            <ac:spMk id="20" creationId="{00000000-0000-0000-0000-000000000000}"/>
          </ac:spMkLst>
        </pc:spChg>
        <pc:spChg chg="mod">
          <ac:chgData name="Tường SKHĐT" userId="ab9568c39a88b08a" providerId="LiveId" clId="{C9C9E8F3-8FCD-4EE8-870E-E66814DBD785}" dt="2022-11-23T03:45:18.747" v="859" actId="1035"/>
          <ac:spMkLst>
            <pc:docMk/>
            <pc:sldMk cId="3305523253" sldId="405"/>
            <ac:spMk id="21" creationId="{00000000-0000-0000-0000-000000000000}"/>
          </ac:spMkLst>
        </pc:spChg>
        <pc:spChg chg="mod">
          <ac:chgData name="Tường SKHĐT" userId="ab9568c39a88b08a" providerId="LiveId" clId="{C9C9E8F3-8FCD-4EE8-870E-E66814DBD785}" dt="2022-11-23T03:45:18.747" v="859" actId="1035"/>
          <ac:spMkLst>
            <pc:docMk/>
            <pc:sldMk cId="3305523253" sldId="405"/>
            <ac:spMk id="22" creationId="{00000000-0000-0000-0000-000000000000}"/>
          </ac:spMkLst>
        </pc:spChg>
        <pc:spChg chg="mod">
          <ac:chgData name="Tường SKHĐT" userId="ab9568c39a88b08a" providerId="LiveId" clId="{C9C9E8F3-8FCD-4EE8-870E-E66814DBD785}" dt="2022-11-23T03:45:35.871" v="862" actId="14100"/>
          <ac:spMkLst>
            <pc:docMk/>
            <pc:sldMk cId="3305523253" sldId="405"/>
            <ac:spMk id="24" creationId="{00000000-0000-0000-0000-000000000000}"/>
          </ac:spMkLst>
        </pc:spChg>
        <pc:spChg chg="mod">
          <ac:chgData name="Tường SKHĐT" userId="ab9568c39a88b08a" providerId="LiveId" clId="{C9C9E8F3-8FCD-4EE8-870E-E66814DBD785}" dt="2022-11-23T03:31:31.798" v="236" actId="1076"/>
          <ac:spMkLst>
            <pc:docMk/>
            <pc:sldMk cId="3305523253" sldId="405"/>
            <ac:spMk id="25" creationId="{00000000-0000-0000-0000-000000000000}"/>
          </ac:spMkLst>
        </pc:spChg>
        <pc:spChg chg="mod">
          <ac:chgData name="Tường SKHĐT" userId="ab9568c39a88b08a" providerId="LiveId" clId="{C9C9E8F3-8FCD-4EE8-870E-E66814DBD785}" dt="2022-11-23T03:31:25.994" v="234" actId="1076"/>
          <ac:spMkLst>
            <pc:docMk/>
            <pc:sldMk cId="3305523253" sldId="405"/>
            <ac:spMk id="26" creationId="{00000000-0000-0000-0000-000000000000}"/>
          </ac:spMkLst>
        </pc:spChg>
        <pc:spChg chg="mod">
          <ac:chgData name="Tường SKHĐT" userId="ab9568c39a88b08a" providerId="LiveId" clId="{C9C9E8F3-8FCD-4EE8-870E-E66814DBD785}" dt="2022-11-23T03:45:18.747" v="859" actId="1035"/>
          <ac:spMkLst>
            <pc:docMk/>
            <pc:sldMk cId="3305523253" sldId="405"/>
            <ac:spMk id="28" creationId="{00000000-0000-0000-0000-000000000000}"/>
          </ac:spMkLst>
        </pc:spChg>
        <pc:grpChg chg="mod">
          <ac:chgData name="Tường SKHĐT" userId="ab9568c39a88b08a" providerId="LiveId" clId="{C9C9E8F3-8FCD-4EE8-870E-E66814DBD785}" dt="2022-11-23T03:45:18.747" v="859" actId="1035"/>
          <ac:grpSpMkLst>
            <pc:docMk/>
            <pc:sldMk cId="3305523253" sldId="405"/>
            <ac:grpSpMk id="12" creationId="{00000000-0000-0000-0000-000000000000}"/>
          </ac:grpSpMkLst>
        </pc:grpChg>
        <pc:grpChg chg="mod">
          <ac:chgData name="Tường SKHĐT" userId="ab9568c39a88b08a" providerId="LiveId" clId="{C9C9E8F3-8FCD-4EE8-870E-E66814DBD785}" dt="2022-11-23T03:45:30.746" v="861" actId="1076"/>
          <ac:grpSpMkLst>
            <pc:docMk/>
            <pc:sldMk cId="3305523253" sldId="405"/>
            <ac:grpSpMk id="15" creationId="{00000000-0000-0000-0000-000000000000}"/>
          </ac:grpSpMkLst>
        </pc:grpChg>
        <pc:picChg chg="mod">
          <ac:chgData name="Tường SKHĐT" userId="ab9568c39a88b08a" providerId="LiveId" clId="{C9C9E8F3-8FCD-4EE8-870E-E66814DBD785}" dt="2022-11-23T03:45:24.965" v="860" actId="1076"/>
          <ac:picMkLst>
            <pc:docMk/>
            <pc:sldMk cId="3305523253" sldId="405"/>
            <ac:picMk id="4" creationId="{3D36D077-5229-8808-BDBC-C79EAFAAF8BD}"/>
          </ac:picMkLst>
        </pc:picChg>
        <pc:picChg chg="mod">
          <ac:chgData name="Tường SKHĐT" userId="ab9568c39a88b08a" providerId="LiveId" clId="{C9C9E8F3-8FCD-4EE8-870E-E66814DBD785}" dt="2022-11-23T03:45:18.747" v="859" actId="1035"/>
          <ac:picMkLst>
            <pc:docMk/>
            <pc:sldMk cId="3305523253" sldId="405"/>
            <ac:picMk id="8" creationId="{566C6FD6-7255-CA0B-050A-BF3FFA3371FE}"/>
          </ac:picMkLst>
        </pc:picChg>
        <pc:picChg chg="mod">
          <ac:chgData name="Tường SKHĐT" userId="ab9568c39a88b08a" providerId="LiveId" clId="{C9C9E8F3-8FCD-4EE8-870E-E66814DBD785}" dt="2022-11-23T03:45:18.747" v="859" actId="1035"/>
          <ac:picMkLst>
            <pc:docMk/>
            <pc:sldMk cId="3305523253" sldId="405"/>
            <ac:picMk id="10" creationId="{A5311436-773C-DD72-49E5-6048D5B47A32}"/>
          </ac:picMkLst>
        </pc:picChg>
        <pc:picChg chg="mod">
          <ac:chgData name="Tường SKHĐT" userId="ab9568c39a88b08a" providerId="LiveId" clId="{C9C9E8F3-8FCD-4EE8-870E-E66814DBD785}" dt="2022-11-23T03:45:18.747" v="859" actId="1035"/>
          <ac:picMkLst>
            <pc:docMk/>
            <pc:sldMk cId="3305523253" sldId="405"/>
            <ac:picMk id="11" creationId="{1E77B572-C228-F655-92EF-7ABDC1A72BFA}"/>
          </ac:picMkLst>
        </pc:picChg>
      </pc:sldChg>
      <pc:sldChg chg="delSp modSp mod">
        <pc:chgData name="Tường SKHĐT" userId="ab9568c39a88b08a" providerId="LiveId" clId="{C9C9E8F3-8FCD-4EE8-870E-E66814DBD785}" dt="2022-11-23T08:58:42.292" v="4189" actId="478"/>
        <pc:sldMkLst>
          <pc:docMk/>
          <pc:sldMk cId="2024374373" sldId="434"/>
        </pc:sldMkLst>
        <pc:spChg chg="mod">
          <ac:chgData name="Tường SKHĐT" userId="ab9568c39a88b08a" providerId="LiveId" clId="{C9C9E8F3-8FCD-4EE8-870E-E66814DBD785}" dt="2022-11-23T03:34:15.057" v="256" actId="207"/>
          <ac:spMkLst>
            <pc:docMk/>
            <pc:sldMk cId="2024374373" sldId="434"/>
            <ac:spMk id="2" creationId="{00000000-0000-0000-0000-000000000000}"/>
          </ac:spMkLst>
        </pc:spChg>
        <pc:spChg chg="mod">
          <ac:chgData name="Tường SKHĐT" userId="ab9568c39a88b08a" providerId="LiveId" clId="{C9C9E8F3-8FCD-4EE8-870E-E66814DBD785}" dt="2022-11-23T03:33:36.136" v="250" actId="20577"/>
          <ac:spMkLst>
            <pc:docMk/>
            <pc:sldMk cId="2024374373" sldId="434"/>
            <ac:spMk id="4" creationId="{00000000-0000-0000-0000-000000000000}"/>
          </ac:spMkLst>
        </pc:spChg>
        <pc:spChg chg="mod">
          <ac:chgData name="Tường SKHĐT" userId="ab9568c39a88b08a" providerId="LiveId" clId="{C9C9E8F3-8FCD-4EE8-870E-E66814DBD785}" dt="2022-11-23T03:34:23.503" v="260" actId="20577"/>
          <ac:spMkLst>
            <pc:docMk/>
            <pc:sldMk cId="2024374373" sldId="434"/>
            <ac:spMk id="15" creationId="{00000000-0000-0000-0000-000000000000}"/>
          </ac:spMkLst>
        </pc:spChg>
        <pc:spChg chg="mod">
          <ac:chgData name="Tường SKHĐT" userId="ab9568c39a88b08a" providerId="LiveId" clId="{C9C9E8F3-8FCD-4EE8-870E-E66814DBD785}" dt="2022-11-23T03:34:29.913" v="264" actId="20577"/>
          <ac:spMkLst>
            <pc:docMk/>
            <pc:sldMk cId="2024374373" sldId="434"/>
            <ac:spMk id="16" creationId="{00000000-0000-0000-0000-000000000000}"/>
          </ac:spMkLst>
        </pc:spChg>
        <pc:spChg chg="mod">
          <ac:chgData name="Tường SKHĐT" userId="ab9568c39a88b08a" providerId="LiveId" clId="{C9C9E8F3-8FCD-4EE8-870E-E66814DBD785}" dt="2022-11-23T03:34:37.646" v="273" actId="20577"/>
          <ac:spMkLst>
            <pc:docMk/>
            <pc:sldMk cId="2024374373" sldId="434"/>
            <ac:spMk id="17" creationId="{00000000-0000-0000-0000-000000000000}"/>
          </ac:spMkLst>
        </pc:spChg>
        <pc:spChg chg="mod">
          <ac:chgData name="Tường SKHĐT" userId="ab9568c39a88b08a" providerId="LiveId" clId="{C9C9E8F3-8FCD-4EE8-870E-E66814DBD785}" dt="2022-11-23T03:34:34.555" v="272" actId="20577"/>
          <ac:spMkLst>
            <pc:docMk/>
            <pc:sldMk cId="2024374373" sldId="434"/>
            <ac:spMk id="18" creationId="{00000000-0000-0000-0000-000000000000}"/>
          </ac:spMkLst>
        </pc:spChg>
        <pc:cxnChg chg="del">
          <ac:chgData name="Tường SKHĐT" userId="ab9568c39a88b08a" providerId="LiveId" clId="{C9C9E8F3-8FCD-4EE8-870E-E66814DBD785}" dt="2022-11-23T08:58:42.292" v="4189" actId="478"/>
          <ac:cxnSpMkLst>
            <pc:docMk/>
            <pc:sldMk cId="2024374373" sldId="434"/>
            <ac:cxnSpMk id="11" creationId="{00000000-0000-0000-0000-000000000000}"/>
          </ac:cxnSpMkLst>
        </pc:cxnChg>
        <pc:cxnChg chg="del">
          <ac:chgData name="Tường SKHĐT" userId="ab9568c39a88b08a" providerId="LiveId" clId="{C9C9E8F3-8FCD-4EE8-870E-E66814DBD785}" dt="2022-11-23T08:58:40.620" v="4188" actId="478"/>
          <ac:cxnSpMkLst>
            <pc:docMk/>
            <pc:sldMk cId="2024374373" sldId="434"/>
            <ac:cxnSpMk id="13" creationId="{00000000-0000-0000-0000-000000000000}"/>
          </ac:cxnSpMkLst>
        </pc:cxnChg>
        <pc:cxnChg chg="del">
          <ac:chgData name="Tường SKHĐT" userId="ab9568c39a88b08a" providerId="LiveId" clId="{C9C9E8F3-8FCD-4EE8-870E-E66814DBD785}" dt="2022-11-23T08:58:39.698" v="4187" actId="478"/>
          <ac:cxnSpMkLst>
            <pc:docMk/>
            <pc:sldMk cId="2024374373" sldId="434"/>
            <ac:cxnSpMk id="14" creationId="{00000000-0000-0000-0000-000000000000}"/>
          </ac:cxnSpMkLst>
        </pc:cxnChg>
      </pc:sldChg>
      <pc:sldChg chg="del">
        <pc:chgData name="Tường SKHĐT" userId="ab9568c39a88b08a" providerId="LiveId" clId="{C9C9E8F3-8FCD-4EE8-870E-E66814DBD785}" dt="2022-11-23T03:27:05.051" v="146" actId="2696"/>
        <pc:sldMkLst>
          <pc:docMk/>
          <pc:sldMk cId="2363256103" sldId="436"/>
        </pc:sldMkLst>
      </pc:sldChg>
      <pc:sldChg chg="delSp modSp add mod">
        <pc:chgData name="Tường SKHĐT" userId="ab9568c39a88b08a" providerId="LiveId" clId="{C9C9E8F3-8FCD-4EE8-870E-E66814DBD785}" dt="2022-11-23T07:03:17.350" v="1290" actId="403"/>
        <pc:sldMkLst>
          <pc:docMk/>
          <pc:sldMk cId="2091478311" sldId="438"/>
        </pc:sldMkLst>
        <pc:spChg chg="mod">
          <ac:chgData name="Tường SKHĐT" userId="ab9568c39a88b08a" providerId="LiveId" clId="{C9C9E8F3-8FCD-4EE8-870E-E66814DBD785}" dt="2022-11-23T07:03:17.350" v="1290" actId="403"/>
          <ac:spMkLst>
            <pc:docMk/>
            <pc:sldMk cId="2091478311" sldId="438"/>
            <ac:spMk id="3" creationId="{00000000-0000-0000-0000-000000000000}"/>
          </ac:spMkLst>
        </pc:spChg>
        <pc:spChg chg="mod">
          <ac:chgData name="Tường SKHĐT" userId="ab9568c39a88b08a" providerId="LiveId" clId="{C9C9E8F3-8FCD-4EE8-870E-E66814DBD785}" dt="2022-11-23T07:03:07.082" v="1284" actId="20577"/>
          <ac:spMkLst>
            <pc:docMk/>
            <pc:sldMk cId="2091478311" sldId="438"/>
            <ac:spMk id="6" creationId="{3A8D298E-9402-0E46-FDD1-28289D68E590}"/>
          </ac:spMkLst>
        </pc:spChg>
        <pc:cxnChg chg="del">
          <ac:chgData name="Tường SKHĐT" userId="ab9568c39a88b08a" providerId="LiveId" clId="{C9C9E8F3-8FCD-4EE8-870E-E66814DBD785}" dt="2022-11-23T07:03:09.985" v="1287" actId="478"/>
          <ac:cxnSpMkLst>
            <pc:docMk/>
            <pc:sldMk cId="2091478311" sldId="438"/>
            <ac:cxnSpMk id="11" creationId="{00000000-0000-0000-0000-000000000000}"/>
          </ac:cxnSpMkLst>
        </pc:cxnChg>
        <pc:cxnChg chg="del">
          <ac:chgData name="Tường SKHĐT" userId="ab9568c39a88b08a" providerId="LiveId" clId="{C9C9E8F3-8FCD-4EE8-870E-E66814DBD785}" dt="2022-11-23T07:03:08.679" v="1285" actId="478"/>
          <ac:cxnSpMkLst>
            <pc:docMk/>
            <pc:sldMk cId="2091478311" sldId="438"/>
            <ac:cxnSpMk id="13" creationId="{00000000-0000-0000-0000-000000000000}"/>
          </ac:cxnSpMkLst>
        </pc:cxnChg>
        <pc:cxnChg chg="del">
          <ac:chgData name="Tường SKHĐT" userId="ab9568c39a88b08a" providerId="LiveId" clId="{C9C9E8F3-8FCD-4EE8-870E-E66814DBD785}" dt="2022-11-23T07:03:09.475" v="1286" actId="478"/>
          <ac:cxnSpMkLst>
            <pc:docMk/>
            <pc:sldMk cId="2091478311" sldId="438"/>
            <ac:cxnSpMk id="14" creationId="{00000000-0000-0000-0000-000000000000}"/>
          </ac:cxnSpMkLst>
        </pc:cxnChg>
      </pc:sldChg>
      <pc:sldChg chg="del">
        <pc:chgData name="Tường SKHĐT" userId="ab9568c39a88b08a" providerId="LiveId" clId="{C9C9E8F3-8FCD-4EE8-870E-E66814DBD785}" dt="2022-11-23T07:14:08.002" v="1644" actId="2696"/>
        <pc:sldMkLst>
          <pc:docMk/>
          <pc:sldMk cId="421919259" sldId="439"/>
        </pc:sldMkLst>
      </pc:sldChg>
      <pc:sldChg chg="delSp modSp mod">
        <pc:chgData name="Tường SKHĐT" userId="ab9568c39a88b08a" providerId="LiveId" clId="{C9C9E8F3-8FCD-4EE8-870E-E66814DBD785}" dt="2022-11-23T07:06:02.092" v="1332" actId="1076"/>
        <pc:sldMkLst>
          <pc:docMk/>
          <pc:sldMk cId="3146323479" sldId="449"/>
        </pc:sldMkLst>
        <pc:spChg chg="mod">
          <ac:chgData name="Tường SKHĐT" userId="ab9568c39a88b08a" providerId="LiveId" clId="{C9C9E8F3-8FCD-4EE8-870E-E66814DBD785}" dt="2022-11-23T07:06:02.092" v="1332" actId="1076"/>
          <ac:spMkLst>
            <pc:docMk/>
            <pc:sldMk cId="3146323479" sldId="449"/>
            <ac:spMk id="2" creationId="{4219F808-181B-0133-F1E0-2E11448658B7}"/>
          </ac:spMkLst>
        </pc:spChg>
        <pc:spChg chg="mod">
          <ac:chgData name="Tường SKHĐT" userId="ab9568c39a88b08a" providerId="LiveId" clId="{C9C9E8F3-8FCD-4EE8-870E-E66814DBD785}" dt="2022-11-23T07:01:56.106" v="1279" actId="20577"/>
          <ac:spMkLst>
            <pc:docMk/>
            <pc:sldMk cId="3146323479" sldId="449"/>
            <ac:spMk id="3" creationId="{22B2B715-653C-5238-09BE-B01B91D4BD2D}"/>
          </ac:spMkLst>
        </pc:spChg>
        <pc:spChg chg="mod">
          <ac:chgData name="Tường SKHĐT" userId="ab9568c39a88b08a" providerId="LiveId" clId="{C9C9E8F3-8FCD-4EE8-870E-E66814DBD785}" dt="2022-11-23T03:51:17.722" v="1221" actId="20577"/>
          <ac:spMkLst>
            <pc:docMk/>
            <pc:sldMk cId="3146323479" sldId="449"/>
            <ac:spMk id="8" creationId="{1B2B3B43-1FE8-D585-2205-9EB6EFD5B656}"/>
          </ac:spMkLst>
        </pc:spChg>
        <pc:cxnChg chg="del">
          <ac:chgData name="Tường SKHĐT" userId="ab9568c39a88b08a" providerId="LiveId" clId="{C9C9E8F3-8FCD-4EE8-870E-E66814DBD785}" dt="2022-11-23T03:51:35.120" v="1231" actId="478"/>
          <ac:cxnSpMkLst>
            <pc:docMk/>
            <pc:sldMk cId="3146323479" sldId="449"/>
            <ac:cxnSpMk id="13" creationId="{00000000-0000-0000-0000-000000000000}"/>
          </ac:cxnSpMkLst>
        </pc:cxnChg>
        <pc:cxnChg chg="del">
          <ac:chgData name="Tường SKHĐT" userId="ab9568c39a88b08a" providerId="LiveId" clId="{C9C9E8F3-8FCD-4EE8-870E-E66814DBD785}" dt="2022-11-23T03:51:36.975" v="1232" actId="478"/>
          <ac:cxnSpMkLst>
            <pc:docMk/>
            <pc:sldMk cId="3146323479" sldId="449"/>
            <ac:cxnSpMk id="14" creationId="{00000000-0000-0000-0000-000000000000}"/>
          </ac:cxnSpMkLst>
        </pc:cxnChg>
      </pc:sldChg>
      <pc:sldChg chg="delSp modSp mod">
        <pc:chgData name="Tường SKHĐT" userId="ab9568c39a88b08a" providerId="LiveId" clId="{C9C9E8F3-8FCD-4EE8-870E-E66814DBD785}" dt="2022-11-23T07:29:33.414" v="2163" actId="1076"/>
        <pc:sldMkLst>
          <pc:docMk/>
          <pc:sldMk cId="1874412585" sldId="456"/>
        </pc:sldMkLst>
        <pc:spChg chg="mod">
          <ac:chgData name="Tường SKHĐT" userId="ab9568c39a88b08a" providerId="LiveId" clId="{C9C9E8F3-8FCD-4EE8-870E-E66814DBD785}" dt="2022-11-23T07:27:56.010" v="2082" actId="14100"/>
          <ac:spMkLst>
            <pc:docMk/>
            <pc:sldMk cId="1874412585" sldId="456"/>
            <ac:spMk id="3" creationId="{8B2C192C-AB63-DBEA-1D8C-42E44743C47D}"/>
          </ac:spMkLst>
        </pc:spChg>
        <pc:spChg chg="mod">
          <ac:chgData name="Tường SKHĐT" userId="ab9568c39a88b08a" providerId="LiveId" clId="{C9C9E8F3-8FCD-4EE8-870E-E66814DBD785}" dt="2022-11-23T07:27:43.082" v="2076" actId="14100"/>
          <ac:spMkLst>
            <pc:docMk/>
            <pc:sldMk cId="1874412585" sldId="456"/>
            <ac:spMk id="5" creationId="{317E31F9-193C-369F-5DF4-7E5A96DF844E}"/>
          </ac:spMkLst>
        </pc:spChg>
        <pc:spChg chg="mod">
          <ac:chgData name="Tường SKHĐT" userId="ab9568c39a88b08a" providerId="LiveId" clId="{C9C9E8F3-8FCD-4EE8-870E-E66814DBD785}" dt="2022-11-23T07:24:12.544" v="2022" actId="20577"/>
          <ac:spMkLst>
            <pc:docMk/>
            <pc:sldMk cId="1874412585" sldId="456"/>
            <ac:spMk id="6" creationId="{5A784772-9AFF-9817-BFEB-830A04F72407}"/>
          </ac:spMkLst>
        </pc:spChg>
        <pc:spChg chg="mod">
          <ac:chgData name="Tường SKHĐT" userId="ab9568c39a88b08a" providerId="LiveId" clId="{C9C9E8F3-8FCD-4EE8-870E-E66814DBD785}" dt="2022-11-23T07:27:33.614" v="2073" actId="1076"/>
          <ac:spMkLst>
            <pc:docMk/>
            <pc:sldMk cId="1874412585" sldId="456"/>
            <ac:spMk id="7" creationId="{55139415-EB3A-98C9-F5D5-67D20FDE84D0}"/>
          </ac:spMkLst>
        </pc:spChg>
        <pc:spChg chg="mod">
          <ac:chgData name="Tường SKHĐT" userId="ab9568c39a88b08a" providerId="LiveId" clId="{C9C9E8F3-8FCD-4EE8-870E-E66814DBD785}" dt="2022-11-23T07:27:53.624" v="2081" actId="1076"/>
          <ac:spMkLst>
            <pc:docMk/>
            <pc:sldMk cId="1874412585" sldId="456"/>
            <ac:spMk id="10" creationId="{0F72088C-B855-D594-7591-EC3740623D95}"/>
          </ac:spMkLst>
        </pc:spChg>
        <pc:spChg chg="mod">
          <ac:chgData name="Tường SKHĐT" userId="ab9568c39a88b08a" providerId="LiveId" clId="{C9C9E8F3-8FCD-4EE8-870E-E66814DBD785}" dt="2022-11-23T07:28:24.848" v="2106" actId="1076"/>
          <ac:spMkLst>
            <pc:docMk/>
            <pc:sldMk cId="1874412585" sldId="456"/>
            <ac:spMk id="17" creationId="{B86506AC-E08B-E0AB-E490-F42569C546EF}"/>
          </ac:spMkLst>
        </pc:spChg>
        <pc:spChg chg="mod">
          <ac:chgData name="Tường SKHĐT" userId="ab9568c39a88b08a" providerId="LiveId" clId="{C9C9E8F3-8FCD-4EE8-870E-E66814DBD785}" dt="2022-11-23T07:28:26.772" v="2107" actId="1076"/>
          <ac:spMkLst>
            <pc:docMk/>
            <pc:sldMk cId="1874412585" sldId="456"/>
            <ac:spMk id="18" creationId="{537F093D-091C-8A3B-3965-AD7F8AE52E18}"/>
          </ac:spMkLst>
        </pc:spChg>
        <pc:spChg chg="mod">
          <ac:chgData name="Tường SKHĐT" userId="ab9568c39a88b08a" providerId="LiveId" clId="{C9C9E8F3-8FCD-4EE8-870E-E66814DBD785}" dt="2022-11-23T07:27:02.862" v="2063" actId="1076"/>
          <ac:spMkLst>
            <pc:docMk/>
            <pc:sldMk cId="1874412585" sldId="456"/>
            <ac:spMk id="20" creationId="{8DBB3710-6CCC-899D-86FE-5692DDA83E22}"/>
          </ac:spMkLst>
        </pc:spChg>
        <pc:spChg chg="mod">
          <ac:chgData name="Tường SKHĐT" userId="ab9568c39a88b08a" providerId="LiveId" clId="{C9C9E8F3-8FCD-4EE8-870E-E66814DBD785}" dt="2022-11-23T07:27:08.208" v="2064" actId="1076"/>
          <ac:spMkLst>
            <pc:docMk/>
            <pc:sldMk cId="1874412585" sldId="456"/>
            <ac:spMk id="21" creationId="{2E378215-0949-CC34-ECC5-24C02722B2E2}"/>
          </ac:spMkLst>
        </pc:spChg>
        <pc:spChg chg="mod">
          <ac:chgData name="Tường SKHĐT" userId="ab9568c39a88b08a" providerId="LiveId" clId="{C9C9E8F3-8FCD-4EE8-870E-E66814DBD785}" dt="2022-11-23T07:26:52.782" v="2058" actId="1076"/>
          <ac:spMkLst>
            <pc:docMk/>
            <pc:sldMk cId="1874412585" sldId="456"/>
            <ac:spMk id="23" creationId="{220A0C14-EAE0-8BFC-6E3B-2AB7543302B3}"/>
          </ac:spMkLst>
        </pc:spChg>
        <pc:spChg chg="mod">
          <ac:chgData name="Tường SKHĐT" userId="ab9568c39a88b08a" providerId="LiveId" clId="{C9C9E8F3-8FCD-4EE8-870E-E66814DBD785}" dt="2022-11-23T07:29:22.450" v="2160" actId="403"/>
          <ac:spMkLst>
            <pc:docMk/>
            <pc:sldMk cId="1874412585" sldId="456"/>
            <ac:spMk id="28" creationId="{9A53EABD-75D1-4108-3873-BE49A7248B6A}"/>
          </ac:spMkLst>
        </pc:spChg>
        <pc:spChg chg="mod">
          <ac:chgData name="Tường SKHĐT" userId="ab9568c39a88b08a" providerId="LiveId" clId="{C9C9E8F3-8FCD-4EE8-870E-E66814DBD785}" dt="2022-11-23T07:28:51.002" v="2149" actId="403"/>
          <ac:spMkLst>
            <pc:docMk/>
            <pc:sldMk cId="1874412585" sldId="456"/>
            <ac:spMk id="31" creationId="{A3ADE812-163C-C99E-D1AB-1EC954845396}"/>
          </ac:spMkLst>
        </pc:spChg>
        <pc:spChg chg="mod">
          <ac:chgData name="Tường SKHĐT" userId="ab9568c39a88b08a" providerId="LiveId" clId="{C9C9E8F3-8FCD-4EE8-870E-E66814DBD785}" dt="2022-11-23T07:29:02.628" v="2154" actId="403"/>
          <ac:spMkLst>
            <pc:docMk/>
            <pc:sldMk cId="1874412585" sldId="456"/>
            <ac:spMk id="33" creationId="{4E9DC88D-28B0-172D-7542-C9BFA7DA475D}"/>
          </ac:spMkLst>
        </pc:spChg>
        <pc:spChg chg="mod">
          <ac:chgData name="Tường SKHĐT" userId="ab9568c39a88b08a" providerId="LiveId" clId="{C9C9E8F3-8FCD-4EE8-870E-E66814DBD785}" dt="2022-11-23T07:28:54.438" v="2150" actId="1076"/>
          <ac:spMkLst>
            <pc:docMk/>
            <pc:sldMk cId="1874412585" sldId="456"/>
            <ac:spMk id="34" creationId="{41C25771-F278-76B6-EB7C-4C41F290C9FE}"/>
          </ac:spMkLst>
        </pc:spChg>
        <pc:spChg chg="mod">
          <ac:chgData name="Tường SKHĐT" userId="ab9568c39a88b08a" providerId="LiveId" clId="{C9C9E8F3-8FCD-4EE8-870E-E66814DBD785}" dt="2022-11-23T07:29:12.412" v="2158" actId="20577"/>
          <ac:spMkLst>
            <pc:docMk/>
            <pc:sldMk cId="1874412585" sldId="456"/>
            <ac:spMk id="36" creationId="{61736211-C4FA-714B-3CF0-96E78EFE9042}"/>
          </ac:spMkLst>
        </pc:spChg>
        <pc:spChg chg="mod">
          <ac:chgData name="Tường SKHĐT" userId="ab9568c39a88b08a" providerId="LiveId" clId="{C9C9E8F3-8FCD-4EE8-870E-E66814DBD785}" dt="2022-11-23T07:29:14.653" v="2159" actId="1076"/>
          <ac:spMkLst>
            <pc:docMk/>
            <pc:sldMk cId="1874412585" sldId="456"/>
            <ac:spMk id="37" creationId="{D92685F0-8209-0269-DD5F-C076CF4664DF}"/>
          </ac:spMkLst>
        </pc:spChg>
        <pc:spChg chg="mod">
          <ac:chgData name="Tường SKHĐT" userId="ab9568c39a88b08a" providerId="LiveId" clId="{C9C9E8F3-8FCD-4EE8-870E-E66814DBD785}" dt="2022-11-23T07:29:31.633" v="2162" actId="1076"/>
          <ac:spMkLst>
            <pc:docMk/>
            <pc:sldMk cId="1874412585" sldId="456"/>
            <ac:spMk id="38" creationId="{EA785596-A697-B644-A735-47DC608D34E5}"/>
          </ac:spMkLst>
        </pc:spChg>
        <pc:spChg chg="mod">
          <ac:chgData name="Tường SKHĐT" userId="ab9568c39a88b08a" providerId="LiveId" clId="{C9C9E8F3-8FCD-4EE8-870E-E66814DBD785}" dt="2022-11-23T07:29:33.414" v="2163" actId="1076"/>
          <ac:spMkLst>
            <pc:docMk/>
            <pc:sldMk cId="1874412585" sldId="456"/>
            <ac:spMk id="39" creationId="{1DB1BA91-ADC3-1B95-9C90-9E7C7E6FD3EB}"/>
          </ac:spMkLst>
        </pc:spChg>
        <pc:cxnChg chg="del">
          <ac:chgData name="Tường SKHĐT" userId="ab9568c39a88b08a" providerId="LiveId" clId="{C9C9E8F3-8FCD-4EE8-870E-E66814DBD785}" dt="2022-11-23T07:27:30.997" v="2072" actId="478"/>
          <ac:cxnSpMkLst>
            <pc:docMk/>
            <pc:sldMk cId="1874412585" sldId="456"/>
            <ac:cxnSpMk id="13" creationId="{00000000-0000-0000-0000-000000000000}"/>
          </ac:cxnSpMkLst>
        </pc:cxnChg>
        <pc:cxnChg chg="del">
          <ac:chgData name="Tường SKHĐT" userId="ab9568c39a88b08a" providerId="LiveId" clId="{C9C9E8F3-8FCD-4EE8-870E-E66814DBD785}" dt="2022-11-23T07:27:30.079" v="2071" actId="478"/>
          <ac:cxnSpMkLst>
            <pc:docMk/>
            <pc:sldMk cId="1874412585" sldId="456"/>
            <ac:cxnSpMk id="14" creationId="{00000000-0000-0000-0000-000000000000}"/>
          </ac:cxnSpMkLst>
        </pc:cxnChg>
      </pc:sldChg>
      <pc:sldChg chg="del">
        <pc:chgData name="Tường SKHĐT" userId="ab9568c39a88b08a" providerId="LiveId" clId="{C9C9E8F3-8FCD-4EE8-870E-E66814DBD785}" dt="2022-11-23T08:17:41.774" v="3241" actId="2696"/>
        <pc:sldMkLst>
          <pc:docMk/>
          <pc:sldMk cId="2175681301" sldId="459"/>
        </pc:sldMkLst>
      </pc:sldChg>
      <pc:sldChg chg="del">
        <pc:chgData name="Tường SKHĐT" userId="ab9568c39a88b08a" providerId="LiveId" clId="{C9C9E8F3-8FCD-4EE8-870E-E66814DBD785}" dt="2022-11-23T07:32:41.034" v="2328" actId="2696"/>
        <pc:sldMkLst>
          <pc:docMk/>
          <pc:sldMk cId="3281693686" sldId="462"/>
        </pc:sldMkLst>
      </pc:sldChg>
      <pc:sldChg chg="modSp del mod">
        <pc:chgData name="Tường SKHĐT" userId="ab9568c39a88b08a" providerId="LiveId" clId="{C9C9E8F3-8FCD-4EE8-870E-E66814DBD785}" dt="2022-11-23T07:45:58.626" v="2989" actId="2696"/>
        <pc:sldMkLst>
          <pc:docMk/>
          <pc:sldMk cId="1691974300" sldId="465"/>
        </pc:sldMkLst>
        <pc:spChg chg="mod">
          <ac:chgData name="Tường SKHĐT" userId="ab9568c39a88b08a" providerId="LiveId" clId="{C9C9E8F3-8FCD-4EE8-870E-E66814DBD785}" dt="2022-11-23T07:33:41.712" v="2356" actId="108"/>
          <ac:spMkLst>
            <pc:docMk/>
            <pc:sldMk cId="1691974300" sldId="465"/>
            <ac:spMk id="3" creationId="{00000000-0000-0000-0000-000000000000}"/>
          </ac:spMkLst>
        </pc:spChg>
        <pc:spChg chg="mod">
          <ac:chgData name="Tường SKHĐT" userId="ab9568c39a88b08a" providerId="LiveId" clId="{C9C9E8F3-8FCD-4EE8-870E-E66814DBD785}" dt="2022-11-23T07:31:43.682" v="2327" actId="20577"/>
          <ac:spMkLst>
            <pc:docMk/>
            <pc:sldMk cId="1691974300" sldId="465"/>
            <ac:spMk id="8" creationId="{00000000-0000-0000-0000-000000000000}"/>
          </ac:spMkLst>
        </pc:spChg>
      </pc:sldChg>
      <pc:sldChg chg="modSp mod">
        <pc:chgData name="Tường SKHĐT" userId="ab9568c39a88b08a" providerId="LiveId" clId="{C9C9E8F3-8FCD-4EE8-870E-E66814DBD785}" dt="2022-11-23T07:23:54.804" v="2012" actId="20577"/>
        <pc:sldMkLst>
          <pc:docMk/>
          <pc:sldMk cId="3916396667" sldId="471"/>
        </pc:sldMkLst>
        <pc:spChg chg="mod">
          <ac:chgData name="Tường SKHĐT" userId="ab9568c39a88b08a" providerId="LiveId" clId="{C9C9E8F3-8FCD-4EE8-870E-E66814DBD785}" dt="2022-11-23T07:23:54.804" v="2012" actId="20577"/>
          <ac:spMkLst>
            <pc:docMk/>
            <pc:sldMk cId="3916396667" sldId="471"/>
            <ac:spMk id="2" creationId="{51DFCA6C-5D70-50D9-2855-50805249BD76}"/>
          </ac:spMkLst>
        </pc:spChg>
      </pc:sldChg>
      <pc:sldChg chg="modSp mod">
        <pc:chgData name="Tường SKHĐT" userId="ab9568c39a88b08a" providerId="LiveId" clId="{C9C9E8F3-8FCD-4EE8-870E-E66814DBD785}" dt="2022-11-23T03:30:07.501" v="181" actId="20577"/>
        <pc:sldMkLst>
          <pc:docMk/>
          <pc:sldMk cId="592900118" sldId="480"/>
        </pc:sldMkLst>
        <pc:spChg chg="mod">
          <ac:chgData name="Tường SKHĐT" userId="ab9568c39a88b08a" providerId="LiveId" clId="{C9C9E8F3-8FCD-4EE8-870E-E66814DBD785}" dt="2022-11-23T03:30:07.501" v="181" actId="20577"/>
          <ac:spMkLst>
            <pc:docMk/>
            <pc:sldMk cId="592900118" sldId="480"/>
            <ac:spMk id="4" creationId="{05CE468D-4928-B10A-7290-248854265286}"/>
          </ac:spMkLst>
        </pc:spChg>
      </pc:sldChg>
      <pc:sldChg chg="modSp mod">
        <pc:chgData name="Tường SKHĐT" userId="ab9568c39a88b08a" providerId="LiveId" clId="{C9C9E8F3-8FCD-4EE8-870E-E66814DBD785}" dt="2022-11-23T03:24:58.848" v="100" actId="20577"/>
        <pc:sldMkLst>
          <pc:docMk/>
          <pc:sldMk cId="348917705" sldId="482"/>
        </pc:sldMkLst>
        <pc:graphicFrameChg chg="mod modGraphic">
          <ac:chgData name="Tường SKHĐT" userId="ab9568c39a88b08a" providerId="LiveId" clId="{C9C9E8F3-8FCD-4EE8-870E-E66814DBD785}" dt="2022-11-23T03:24:58.848" v="100" actId="20577"/>
          <ac:graphicFrameMkLst>
            <pc:docMk/>
            <pc:sldMk cId="348917705" sldId="482"/>
            <ac:graphicFrameMk id="2" creationId="{00000000-0000-0000-0000-000000000000}"/>
          </ac:graphicFrameMkLst>
        </pc:graphicFrameChg>
      </pc:sldChg>
      <pc:sldChg chg="addSp delSp modSp mod">
        <pc:chgData name="Tường SKHĐT" userId="ab9568c39a88b08a" providerId="LiveId" clId="{C9C9E8F3-8FCD-4EE8-870E-E66814DBD785}" dt="2022-11-23T03:26:52.852" v="145" actId="1076"/>
        <pc:sldMkLst>
          <pc:docMk/>
          <pc:sldMk cId="4051799181" sldId="483"/>
        </pc:sldMkLst>
        <pc:graphicFrameChg chg="add del mod modGraphic">
          <ac:chgData name="Tường SKHĐT" userId="ab9568c39a88b08a" providerId="LiveId" clId="{C9C9E8F3-8FCD-4EE8-870E-E66814DBD785}" dt="2022-11-23T03:26:52.852" v="145" actId="1076"/>
          <ac:graphicFrameMkLst>
            <pc:docMk/>
            <pc:sldMk cId="4051799181" sldId="483"/>
            <ac:graphicFrameMk id="3" creationId="{00000000-0000-0000-0000-000000000000}"/>
          </ac:graphicFrameMkLst>
        </pc:graphicFrameChg>
      </pc:sldChg>
      <pc:sldChg chg="modSp mod">
        <pc:chgData name="Tường SKHĐT" userId="ab9568c39a88b08a" providerId="LiveId" clId="{C9C9E8F3-8FCD-4EE8-870E-E66814DBD785}" dt="2022-11-23T03:26:15.916" v="138" actId="14734"/>
        <pc:sldMkLst>
          <pc:docMk/>
          <pc:sldMk cId="4159698899" sldId="492"/>
        </pc:sldMkLst>
        <pc:graphicFrameChg chg="modGraphic">
          <ac:chgData name="Tường SKHĐT" userId="ab9568c39a88b08a" providerId="LiveId" clId="{C9C9E8F3-8FCD-4EE8-870E-E66814DBD785}" dt="2022-11-23T03:26:15.916" v="138" actId="14734"/>
          <ac:graphicFrameMkLst>
            <pc:docMk/>
            <pc:sldMk cId="4159698899" sldId="492"/>
            <ac:graphicFrameMk id="3" creationId="{00000000-0000-0000-0000-000000000000}"/>
          </ac:graphicFrameMkLst>
        </pc:graphicFrameChg>
      </pc:sldChg>
      <pc:sldChg chg="modSp mod">
        <pc:chgData name="Tường SKHĐT" userId="ab9568c39a88b08a" providerId="LiveId" clId="{C9C9E8F3-8FCD-4EE8-870E-E66814DBD785}" dt="2022-11-23T07:23:46.954" v="2004" actId="20577"/>
        <pc:sldMkLst>
          <pc:docMk/>
          <pc:sldMk cId="1360248063" sldId="493"/>
        </pc:sldMkLst>
        <pc:spChg chg="mod">
          <ac:chgData name="Tường SKHĐT" userId="ab9568c39a88b08a" providerId="LiveId" clId="{C9C9E8F3-8FCD-4EE8-870E-E66814DBD785}" dt="2022-11-23T07:23:46.954" v="2004" actId="20577"/>
          <ac:spMkLst>
            <pc:docMk/>
            <pc:sldMk cId="1360248063" sldId="493"/>
            <ac:spMk id="12" creationId="{CE5FBBCC-ED66-B046-1C08-3D84F85723EB}"/>
          </ac:spMkLst>
        </pc:spChg>
      </pc:sldChg>
      <pc:sldChg chg="modSp mod">
        <pc:chgData name="Tường SKHĐT" userId="ab9568c39a88b08a" providerId="LiveId" clId="{C9C9E8F3-8FCD-4EE8-870E-E66814DBD785}" dt="2022-11-23T07:23:51.020" v="2008" actId="20577"/>
        <pc:sldMkLst>
          <pc:docMk/>
          <pc:sldMk cId="227215188" sldId="494"/>
        </pc:sldMkLst>
        <pc:spChg chg="mod">
          <ac:chgData name="Tường SKHĐT" userId="ab9568c39a88b08a" providerId="LiveId" clId="{C9C9E8F3-8FCD-4EE8-870E-E66814DBD785}" dt="2022-11-23T07:23:51.020" v="2008" actId="20577"/>
          <ac:spMkLst>
            <pc:docMk/>
            <pc:sldMk cId="227215188" sldId="494"/>
            <ac:spMk id="12" creationId="{CE5FBBCC-ED66-B046-1C08-3D84F85723EB}"/>
          </ac:spMkLst>
        </pc:spChg>
      </pc:sldChg>
      <pc:sldChg chg="delSp modSp mod">
        <pc:chgData name="Tường SKHĐT" userId="ab9568c39a88b08a" providerId="LiveId" clId="{C9C9E8F3-8FCD-4EE8-870E-E66814DBD785}" dt="2022-11-23T08:59:12.909" v="4196" actId="478"/>
        <pc:sldMkLst>
          <pc:docMk/>
          <pc:sldMk cId="2933973913" sldId="495"/>
        </pc:sldMkLst>
        <pc:spChg chg="mod">
          <ac:chgData name="Tường SKHĐT" userId="ab9568c39a88b08a" providerId="LiveId" clId="{C9C9E8F3-8FCD-4EE8-870E-E66814DBD785}" dt="2022-11-23T07:13:49.372" v="1643" actId="20577"/>
          <ac:spMkLst>
            <pc:docMk/>
            <pc:sldMk cId="2933973913" sldId="495"/>
            <ac:spMk id="3" creationId="{22B2B715-653C-5238-09BE-B01B91D4BD2D}"/>
          </ac:spMkLst>
        </pc:spChg>
        <pc:spChg chg="mod">
          <ac:chgData name="Tường SKHĐT" userId="ab9568c39a88b08a" providerId="LiveId" clId="{C9C9E8F3-8FCD-4EE8-870E-E66814DBD785}" dt="2022-11-23T08:59:08.007" v="4193" actId="20577"/>
          <ac:spMkLst>
            <pc:docMk/>
            <pc:sldMk cId="2933973913" sldId="495"/>
            <ac:spMk id="8" creationId="{1B2B3B43-1FE8-D585-2205-9EB6EFD5B656}"/>
          </ac:spMkLst>
        </pc:spChg>
        <pc:cxnChg chg="del">
          <ac:chgData name="Tường SKHĐT" userId="ab9568c39a88b08a" providerId="LiveId" clId="{C9C9E8F3-8FCD-4EE8-870E-E66814DBD785}" dt="2022-11-23T08:59:12.909" v="4196" actId="478"/>
          <ac:cxnSpMkLst>
            <pc:docMk/>
            <pc:sldMk cId="2933973913" sldId="495"/>
            <ac:cxnSpMk id="11" creationId="{00000000-0000-0000-0000-000000000000}"/>
          </ac:cxnSpMkLst>
        </pc:cxnChg>
        <pc:cxnChg chg="del">
          <ac:chgData name="Tường SKHĐT" userId="ab9568c39a88b08a" providerId="LiveId" clId="{C9C9E8F3-8FCD-4EE8-870E-E66814DBD785}" dt="2022-11-23T08:59:11.836" v="4195" actId="478"/>
          <ac:cxnSpMkLst>
            <pc:docMk/>
            <pc:sldMk cId="2933973913" sldId="495"/>
            <ac:cxnSpMk id="13" creationId="{00000000-0000-0000-0000-000000000000}"/>
          </ac:cxnSpMkLst>
        </pc:cxnChg>
        <pc:cxnChg chg="del">
          <ac:chgData name="Tường SKHĐT" userId="ab9568c39a88b08a" providerId="LiveId" clId="{C9C9E8F3-8FCD-4EE8-870E-E66814DBD785}" dt="2022-11-23T08:59:10.789" v="4194" actId="478"/>
          <ac:cxnSpMkLst>
            <pc:docMk/>
            <pc:sldMk cId="2933973913" sldId="495"/>
            <ac:cxnSpMk id="14" creationId="{00000000-0000-0000-0000-000000000000}"/>
          </ac:cxnSpMkLst>
        </pc:cxnChg>
      </pc:sldChg>
      <pc:sldChg chg="delSp modSp del mod">
        <pc:chgData name="Tường SKHĐT" userId="ab9568c39a88b08a" providerId="LiveId" clId="{C9C9E8F3-8FCD-4EE8-870E-E66814DBD785}" dt="2022-11-23T08:49:58.774" v="3877" actId="2696"/>
        <pc:sldMkLst>
          <pc:docMk/>
          <pc:sldMk cId="3147778274" sldId="501"/>
        </pc:sldMkLst>
        <pc:spChg chg="mod">
          <ac:chgData name="Tường SKHĐT" userId="ab9568c39a88b08a" providerId="LiveId" clId="{C9C9E8F3-8FCD-4EE8-870E-E66814DBD785}" dt="2022-11-23T08:48:59.860" v="3874" actId="20577"/>
          <ac:spMkLst>
            <pc:docMk/>
            <pc:sldMk cId="3147778274" sldId="501"/>
            <ac:spMk id="3" creationId="{00000000-0000-0000-0000-000000000000}"/>
          </ac:spMkLst>
        </pc:spChg>
        <pc:spChg chg="mod">
          <ac:chgData name="Tường SKHĐT" userId="ab9568c39a88b08a" providerId="LiveId" clId="{C9C9E8F3-8FCD-4EE8-870E-E66814DBD785}" dt="2022-11-23T08:47:41.555" v="3851" actId="20577"/>
          <ac:spMkLst>
            <pc:docMk/>
            <pc:sldMk cId="3147778274" sldId="501"/>
            <ac:spMk id="8" creationId="{00000000-0000-0000-0000-000000000000}"/>
          </ac:spMkLst>
        </pc:spChg>
        <pc:cxnChg chg="del">
          <ac:chgData name="Tường SKHĐT" userId="ab9568c39a88b08a" providerId="LiveId" clId="{C9C9E8F3-8FCD-4EE8-870E-E66814DBD785}" dt="2022-11-23T08:47:46.790" v="3854" actId="478"/>
          <ac:cxnSpMkLst>
            <pc:docMk/>
            <pc:sldMk cId="3147778274" sldId="501"/>
            <ac:cxnSpMk id="13" creationId="{00000000-0000-0000-0000-000000000000}"/>
          </ac:cxnSpMkLst>
        </pc:cxnChg>
        <pc:cxnChg chg="del">
          <ac:chgData name="Tường SKHĐT" userId="ab9568c39a88b08a" providerId="LiveId" clId="{C9C9E8F3-8FCD-4EE8-870E-E66814DBD785}" dt="2022-11-23T08:47:46.009" v="3853" actId="478"/>
          <ac:cxnSpMkLst>
            <pc:docMk/>
            <pc:sldMk cId="3147778274" sldId="501"/>
            <ac:cxnSpMk id="14" creationId="{00000000-0000-0000-0000-000000000000}"/>
          </ac:cxnSpMkLst>
        </pc:cxnChg>
      </pc:sldChg>
      <pc:sldChg chg="modSp mod">
        <pc:chgData name="Tường SKHĐT" userId="ab9568c39a88b08a" providerId="LiveId" clId="{C9C9E8F3-8FCD-4EE8-870E-E66814DBD785}" dt="2022-11-23T07:15:41.153" v="1767" actId="20577"/>
        <pc:sldMkLst>
          <pc:docMk/>
          <pc:sldMk cId="3540405953" sldId="502"/>
        </pc:sldMkLst>
        <pc:spChg chg="mod">
          <ac:chgData name="Tường SKHĐT" userId="ab9568c39a88b08a" providerId="LiveId" clId="{C9C9E8F3-8FCD-4EE8-870E-E66814DBD785}" dt="2022-11-23T07:14:44.785" v="1713" actId="20577"/>
          <ac:spMkLst>
            <pc:docMk/>
            <pc:sldMk cId="3540405953" sldId="502"/>
            <ac:spMk id="6" creationId="{8F441EC3-0BA7-4F59-8AD1-8445D9757715}"/>
          </ac:spMkLst>
        </pc:spChg>
        <pc:spChg chg="mod">
          <ac:chgData name="Tường SKHĐT" userId="ab9568c39a88b08a" providerId="LiveId" clId="{C9C9E8F3-8FCD-4EE8-870E-E66814DBD785}" dt="2022-11-23T07:14:54.496" v="1730" actId="20577"/>
          <ac:spMkLst>
            <pc:docMk/>
            <pc:sldMk cId="3540405953" sldId="502"/>
            <ac:spMk id="7" creationId="{6C0C263C-8AC5-4EA9-6623-5D53F070A466}"/>
          </ac:spMkLst>
        </pc:spChg>
        <pc:spChg chg="mod">
          <ac:chgData name="Tường SKHĐT" userId="ab9568c39a88b08a" providerId="LiveId" clId="{C9C9E8F3-8FCD-4EE8-870E-E66814DBD785}" dt="2022-11-23T07:15:41.153" v="1767" actId="20577"/>
          <ac:spMkLst>
            <pc:docMk/>
            <pc:sldMk cId="3540405953" sldId="502"/>
            <ac:spMk id="8" creationId="{BE3FBCC4-B1C6-7537-0DC2-C1A9645EA02C}"/>
          </ac:spMkLst>
        </pc:spChg>
        <pc:spChg chg="mod">
          <ac:chgData name="Tường SKHĐT" userId="ab9568c39a88b08a" providerId="LiveId" clId="{C9C9E8F3-8FCD-4EE8-870E-E66814DBD785}" dt="2022-11-23T07:15:08.977" v="1749" actId="20577"/>
          <ac:spMkLst>
            <pc:docMk/>
            <pc:sldMk cId="3540405953" sldId="502"/>
            <ac:spMk id="9" creationId="{BF2EF6F2-669D-669D-8EC0-42EAD0DB9009}"/>
          </ac:spMkLst>
        </pc:spChg>
        <pc:spChg chg="mod">
          <ac:chgData name="Tường SKHĐT" userId="ab9568c39a88b08a" providerId="LiveId" clId="{C9C9E8F3-8FCD-4EE8-870E-E66814DBD785}" dt="2022-11-23T07:14:16.480" v="1681" actId="20577"/>
          <ac:spMkLst>
            <pc:docMk/>
            <pc:sldMk cId="3540405953" sldId="502"/>
            <ac:spMk id="18" creationId="{FFC10AC6-2C73-A1C4-5D01-9745FB860C53}"/>
          </ac:spMkLst>
        </pc:spChg>
        <pc:spChg chg="mod">
          <ac:chgData name="Tường SKHĐT" userId="ab9568c39a88b08a" providerId="LiveId" clId="{C9C9E8F3-8FCD-4EE8-870E-E66814DBD785}" dt="2022-11-23T07:14:31.844" v="1699" actId="20577"/>
          <ac:spMkLst>
            <pc:docMk/>
            <pc:sldMk cId="3540405953" sldId="502"/>
            <ac:spMk id="20" creationId="{46499BF0-4D64-5CB9-D715-F6433918CD00}"/>
          </ac:spMkLst>
        </pc:spChg>
      </pc:sldChg>
      <pc:sldChg chg="addSp delSp modSp mod">
        <pc:chgData name="Tường SKHĐT" userId="ab9568c39a88b08a" providerId="LiveId" clId="{C9C9E8F3-8FCD-4EE8-870E-E66814DBD785}" dt="2022-11-23T07:34:21.083" v="2439" actId="20577"/>
        <pc:sldMkLst>
          <pc:docMk/>
          <pc:sldMk cId="1537785574" sldId="504"/>
        </pc:sldMkLst>
        <pc:spChg chg="mod">
          <ac:chgData name="Tường SKHĐT" userId="ab9568c39a88b08a" providerId="LiveId" clId="{C9C9E8F3-8FCD-4EE8-870E-E66814DBD785}" dt="2022-11-23T07:05:29.373" v="1327" actId="1076"/>
          <ac:spMkLst>
            <pc:docMk/>
            <pc:sldMk cId="1537785574" sldId="504"/>
            <ac:spMk id="2" creationId="{E44EE9E0-4EA3-0404-EFB1-8C6F74BFB274}"/>
          </ac:spMkLst>
        </pc:spChg>
        <pc:spChg chg="mod">
          <ac:chgData name="Tường SKHĐT" userId="ab9568c39a88b08a" providerId="LiveId" clId="{C9C9E8F3-8FCD-4EE8-870E-E66814DBD785}" dt="2022-11-23T07:00:15.488" v="1244" actId="20577"/>
          <ac:spMkLst>
            <pc:docMk/>
            <pc:sldMk cId="1537785574" sldId="504"/>
            <ac:spMk id="3" creationId="{22B2B715-653C-5238-09BE-B01B91D4BD2D}"/>
          </ac:spMkLst>
        </pc:spChg>
        <pc:spChg chg="mod">
          <ac:chgData name="Tường SKHĐT" userId="ab9568c39a88b08a" providerId="LiveId" clId="{C9C9E8F3-8FCD-4EE8-870E-E66814DBD785}" dt="2022-11-23T07:05:28.998" v="1326" actId="1076"/>
          <ac:spMkLst>
            <pc:docMk/>
            <pc:sldMk cId="1537785574" sldId="504"/>
            <ac:spMk id="4" creationId="{9D2F2080-50A0-6420-BD42-38A92C6AB08D}"/>
          </ac:spMkLst>
        </pc:spChg>
        <pc:spChg chg="add del mod">
          <ac:chgData name="Tường SKHĐT" userId="ab9568c39a88b08a" providerId="LiveId" clId="{C9C9E8F3-8FCD-4EE8-870E-E66814DBD785}" dt="2022-11-23T03:37:46.892" v="426" actId="21"/>
          <ac:spMkLst>
            <pc:docMk/>
            <pc:sldMk cId="1537785574" sldId="504"/>
            <ac:spMk id="5" creationId="{00DDD997-DCAF-1987-792D-88AA549B2C04}"/>
          </ac:spMkLst>
        </pc:spChg>
        <pc:spChg chg="add del mod">
          <ac:chgData name="Tường SKHĐT" userId="ab9568c39a88b08a" providerId="LiveId" clId="{C9C9E8F3-8FCD-4EE8-870E-E66814DBD785}" dt="2022-11-23T07:34:21.083" v="2439" actId="20577"/>
          <ac:spMkLst>
            <pc:docMk/>
            <pc:sldMk cId="1537785574" sldId="504"/>
            <ac:spMk id="8" creationId="{310BDFE0-6C26-8FF6-17BC-7D420AAE6BB9}"/>
          </ac:spMkLst>
        </pc:spChg>
        <pc:cxnChg chg="del">
          <ac:chgData name="Tường SKHĐT" userId="ab9568c39a88b08a" providerId="LiveId" clId="{C9C9E8F3-8FCD-4EE8-870E-E66814DBD785}" dt="2022-11-23T03:36:49.062" v="353" actId="478"/>
          <ac:cxnSpMkLst>
            <pc:docMk/>
            <pc:sldMk cId="1537785574" sldId="504"/>
            <ac:cxnSpMk id="11" creationId="{00000000-0000-0000-0000-000000000000}"/>
          </ac:cxnSpMkLst>
        </pc:cxnChg>
        <pc:cxnChg chg="del">
          <ac:chgData name="Tường SKHĐT" userId="ab9568c39a88b08a" providerId="LiveId" clId="{C9C9E8F3-8FCD-4EE8-870E-E66814DBD785}" dt="2022-11-23T03:36:47.218" v="351" actId="478"/>
          <ac:cxnSpMkLst>
            <pc:docMk/>
            <pc:sldMk cId="1537785574" sldId="504"/>
            <ac:cxnSpMk id="13" creationId="{00000000-0000-0000-0000-000000000000}"/>
          </ac:cxnSpMkLst>
        </pc:cxnChg>
        <pc:cxnChg chg="del">
          <ac:chgData name="Tường SKHĐT" userId="ab9568c39a88b08a" providerId="LiveId" clId="{C9C9E8F3-8FCD-4EE8-870E-E66814DBD785}" dt="2022-11-23T03:36:48.265" v="352" actId="478"/>
          <ac:cxnSpMkLst>
            <pc:docMk/>
            <pc:sldMk cId="1537785574" sldId="504"/>
            <ac:cxnSpMk id="14" creationId="{00000000-0000-0000-0000-000000000000}"/>
          </ac:cxnSpMkLst>
        </pc:cxnChg>
      </pc:sldChg>
      <pc:sldChg chg="del">
        <pc:chgData name="Tường SKHĐT" userId="ab9568c39a88b08a" providerId="LiveId" clId="{C9C9E8F3-8FCD-4EE8-870E-E66814DBD785}" dt="2022-11-23T03:27:08.508" v="147" actId="2696"/>
        <pc:sldMkLst>
          <pc:docMk/>
          <pc:sldMk cId="246041151" sldId="505"/>
        </pc:sldMkLst>
      </pc:sldChg>
      <pc:sldChg chg="del">
        <pc:chgData name="Tường SKHĐT" userId="ab9568c39a88b08a" providerId="LiveId" clId="{C9C9E8F3-8FCD-4EE8-870E-E66814DBD785}" dt="2022-11-23T03:27:11.800" v="148" actId="2696"/>
        <pc:sldMkLst>
          <pc:docMk/>
          <pc:sldMk cId="897172288" sldId="506"/>
        </pc:sldMkLst>
      </pc:sldChg>
      <pc:sldChg chg="del">
        <pc:chgData name="Tường SKHĐT" userId="ab9568c39a88b08a" providerId="LiveId" clId="{C9C9E8F3-8FCD-4EE8-870E-E66814DBD785}" dt="2022-11-23T03:27:14.953" v="149" actId="2696"/>
        <pc:sldMkLst>
          <pc:docMk/>
          <pc:sldMk cId="3342868735" sldId="507"/>
        </pc:sldMkLst>
      </pc:sldChg>
      <pc:sldChg chg="modSp mod">
        <pc:chgData name="Tường SKHĐT" userId="ab9568c39a88b08a" providerId="LiveId" clId="{C9C9E8F3-8FCD-4EE8-870E-E66814DBD785}" dt="2022-11-23T07:24:08.614" v="2018" actId="20577"/>
        <pc:sldMkLst>
          <pc:docMk/>
          <pc:sldMk cId="3594759769" sldId="509"/>
        </pc:sldMkLst>
        <pc:spChg chg="mod">
          <ac:chgData name="Tường SKHĐT" userId="ab9568c39a88b08a" providerId="LiveId" clId="{C9C9E8F3-8FCD-4EE8-870E-E66814DBD785}" dt="2022-11-23T07:21:42.158" v="1952" actId="20577"/>
          <ac:spMkLst>
            <pc:docMk/>
            <pc:sldMk cId="3594759769" sldId="509"/>
            <ac:spMk id="3" creationId="{22B2B715-653C-5238-09BE-B01B91D4BD2D}"/>
          </ac:spMkLst>
        </pc:spChg>
        <pc:spChg chg="mod">
          <ac:chgData name="Tường SKHĐT" userId="ab9568c39a88b08a" providerId="LiveId" clId="{C9C9E8F3-8FCD-4EE8-870E-E66814DBD785}" dt="2022-11-23T07:24:08.614" v="2018" actId="20577"/>
          <ac:spMkLst>
            <pc:docMk/>
            <pc:sldMk cId="3594759769" sldId="509"/>
            <ac:spMk id="6" creationId="{26CA6862-95C2-E5F2-5B96-27B859758EFB}"/>
          </ac:spMkLst>
        </pc:spChg>
      </pc:sldChg>
      <pc:sldChg chg="del">
        <pc:chgData name="Tường SKHĐT" userId="ab9568c39a88b08a" providerId="LiveId" clId="{C9C9E8F3-8FCD-4EE8-870E-E66814DBD785}" dt="2022-11-23T07:32:43.587" v="2329" actId="2696"/>
        <pc:sldMkLst>
          <pc:docMk/>
          <pc:sldMk cId="2022089303" sldId="510"/>
        </pc:sldMkLst>
      </pc:sldChg>
      <pc:sldChg chg="modSp del mod">
        <pc:chgData name="Tường SKHĐT" userId="ab9568c39a88b08a" providerId="LiveId" clId="{C9C9E8F3-8FCD-4EE8-870E-E66814DBD785}" dt="2022-11-23T07:32:50.768" v="2331" actId="2696"/>
        <pc:sldMkLst>
          <pc:docMk/>
          <pc:sldMk cId="2850236373" sldId="511"/>
        </pc:sldMkLst>
        <pc:spChg chg="mod">
          <ac:chgData name="Tường SKHĐT" userId="ab9568c39a88b08a" providerId="LiveId" clId="{C9C9E8F3-8FCD-4EE8-870E-E66814DBD785}" dt="2022-11-23T07:23:59.228" v="2014" actId="20577"/>
          <ac:spMkLst>
            <pc:docMk/>
            <pc:sldMk cId="2850236373" sldId="511"/>
            <ac:spMk id="12" creationId="{CE5FBBCC-ED66-B046-1C08-3D84F85723EB}"/>
          </ac:spMkLst>
        </pc:spChg>
      </pc:sldChg>
      <pc:sldChg chg="del">
        <pc:chgData name="Tường SKHĐT" userId="ab9568c39a88b08a" providerId="LiveId" clId="{C9C9E8F3-8FCD-4EE8-870E-E66814DBD785}" dt="2022-11-23T07:32:46.362" v="2330" actId="2696"/>
        <pc:sldMkLst>
          <pc:docMk/>
          <pc:sldMk cId="2808279506" sldId="512"/>
        </pc:sldMkLst>
      </pc:sldChg>
      <pc:sldChg chg="del">
        <pc:chgData name="Tường SKHĐT" userId="ab9568c39a88b08a" providerId="LiveId" clId="{C9C9E8F3-8FCD-4EE8-870E-E66814DBD785}" dt="2022-11-23T08:57:36.713" v="4186" actId="2696"/>
        <pc:sldMkLst>
          <pc:docMk/>
          <pc:sldMk cId="3368443697" sldId="522"/>
        </pc:sldMkLst>
      </pc:sldChg>
      <pc:sldChg chg="del">
        <pc:chgData name="Tường SKHĐT" userId="ab9568c39a88b08a" providerId="LiveId" clId="{C9C9E8F3-8FCD-4EE8-870E-E66814DBD785}" dt="2022-11-23T08:57:22.621" v="4185" actId="2696"/>
        <pc:sldMkLst>
          <pc:docMk/>
          <pc:sldMk cId="2990740007" sldId="523"/>
        </pc:sldMkLst>
      </pc:sldChg>
      <pc:sldChg chg="del">
        <pc:chgData name="Tường SKHĐT" userId="ab9568c39a88b08a" providerId="LiveId" clId="{C9C9E8F3-8FCD-4EE8-870E-E66814DBD785}" dt="2022-11-23T08:57:18.094" v="4184" actId="2696"/>
        <pc:sldMkLst>
          <pc:docMk/>
          <pc:sldMk cId="1573972886" sldId="524"/>
        </pc:sldMkLst>
      </pc:sldChg>
      <pc:sldChg chg="delSp modSp mod">
        <pc:chgData name="Tường SKHĐT" userId="ab9568c39a88b08a" providerId="LiveId" clId="{C9C9E8F3-8FCD-4EE8-870E-E66814DBD785}" dt="2022-11-23T08:30:57.333" v="3279" actId="20577"/>
        <pc:sldMkLst>
          <pc:docMk/>
          <pc:sldMk cId="3433287073" sldId="526"/>
        </pc:sldMkLst>
        <pc:spChg chg="mod">
          <ac:chgData name="Tường SKHĐT" userId="ab9568c39a88b08a" providerId="LiveId" clId="{C9C9E8F3-8FCD-4EE8-870E-E66814DBD785}" dt="2022-11-23T08:15:30.094" v="3090" actId="1076"/>
          <ac:spMkLst>
            <pc:docMk/>
            <pc:sldMk cId="3433287073" sldId="526"/>
            <ac:spMk id="3" creationId="{00000000-0000-0000-0000-000000000000}"/>
          </ac:spMkLst>
        </pc:spChg>
        <pc:spChg chg="mod">
          <ac:chgData name="Tường SKHĐT" userId="ab9568c39a88b08a" providerId="LiveId" clId="{C9C9E8F3-8FCD-4EE8-870E-E66814DBD785}" dt="2022-11-23T07:46:13.384" v="2990"/>
          <ac:spMkLst>
            <pc:docMk/>
            <pc:sldMk cId="3433287073" sldId="526"/>
            <ac:spMk id="8" creationId="{00000000-0000-0000-0000-000000000000}"/>
          </ac:spMkLst>
        </pc:spChg>
        <pc:graphicFrameChg chg="modGraphic">
          <ac:chgData name="Tường SKHĐT" userId="ab9568c39a88b08a" providerId="LiveId" clId="{C9C9E8F3-8FCD-4EE8-870E-E66814DBD785}" dt="2022-11-23T08:30:57.333" v="3279" actId="20577"/>
          <ac:graphicFrameMkLst>
            <pc:docMk/>
            <pc:sldMk cId="3433287073" sldId="526"/>
            <ac:graphicFrameMk id="2" creationId="{03FA2D92-F783-CCB5-17B0-57B4E7C122CF}"/>
          </ac:graphicFrameMkLst>
        </pc:graphicFrameChg>
        <pc:cxnChg chg="del">
          <ac:chgData name="Tường SKHĐT" userId="ab9568c39a88b08a" providerId="LiveId" clId="{C9C9E8F3-8FCD-4EE8-870E-E66814DBD785}" dt="2022-11-23T08:15:27.865" v="3089" actId="478"/>
          <ac:cxnSpMkLst>
            <pc:docMk/>
            <pc:sldMk cId="3433287073" sldId="526"/>
            <ac:cxnSpMk id="13" creationId="{00000000-0000-0000-0000-000000000000}"/>
          </ac:cxnSpMkLst>
        </pc:cxnChg>
        <pc:cxnChg chg="del">
          <ac:chgData name="Tường SKHĐT" userId="ab9568c39a88b08a" providerId="LiveId" clId="{C9C9E8F3-8FCD-4EE8-870E-E66814DBD785}" dt="2022-11-23T08:15:26.162" v="3088" actId="478"/>
          <ac:cxnSpMkLst>
            <pc:docMk/>
            <pc:sldMk cId="3433287073" sldId="526"/>
            <ac:cxnSpMk id="14" creationId="{00000000-0000-0000-0000-000000000000}"/>
          </ac:cxnSpMkLst>
        </pc:cxnChg>
      </pc:sldChg>
      <pc:sldChg chg="del">
        <pc:chgData name="Tường SKHĐT" userId="ab9568c39a88b08a" providerId="LiveId" clId="{C9C9E8F3-8FCD-4EE8-870E-E66814DBD785}" dt="2022-11-23T08:38:17.398" v="3560" actId="2696"/>
        <pc:sldMkLst>
          <pc:docMk/>
          <pc:sldMk cId="1907256953" sldId="527"/>
        </pc:sldMkLst>
      </pc:sldChg>
      <pc:sldChg chg="del">
        <pc:chgData name="Tường SKHĐT" userId="ab9568c39a88b08a" providerId="LiveId" clId="{C9C9E8F3-8FCD-4EE8-870E-E66814DBD785}" dt="2022-11-23T08:39:29.608" v="3579" actId="2696"/>
        <pc:sldMkLst>
          <pc:docMk/>
          <pc:sldMk cId="1303711616" sldId="528"/>
        </pc:sldMkLst>
      </pc:sldChg>
      <pc:sldChg chg="addSp delSp modSp mod">
        <pc:chgData name="Tường SKHĐT" userId="ab9568c39a88b08a" providerId="LiveId" clId="{C9C9E8F3-8FCD-4EE8-870E-E66814DBD785}" dt="2022-11-23T07:06:27.967" v="1334" actId="20577"/>
        <pc:sldMkLst>
          <pc:docMk/>
          <pc:sldMk cId="3890164795" sldId="529"/>
        </pc:sldMkLst>
        <pc:spChg chg="mod">
          <ac:chgData name="Tường SKHĐT" userId="ab9568c39a88b08a" providerId="LiveId" clId="{C9C9E8F3-8FCD-4EE8-870E-E66814DBD785}" dt="2022-11-23T07:05:32.735" v="1330" actId="1076"/>
          <ac:spMkLst>
            <pc:docMk/>
            <pc:sldMk cId="3890164795" sldId="529"/>
            <ac:spMk id="2" creationId="{CC5A0C9B-E81F-9E46-492D-9E3DAEC601E5}"/>
          </ac:spMkLst>
        </pc:spChg>
        <pc:spChg chg="mod">
          <ac:chgData name="Tường SKHĐT" userId="ab9568c39a88b08a" providerId="LiveId" clId="{C9C9E8F3-8FCD-4EE8-870E-E66814DBD785}" dt="2022-11-23T07:06:27.967" v="1334" actId="20577"/>
          <ac:spMkLst>
            <pc:docMk/>
            <pc:sldMk cId="3890164795" sldId="529"/>
            <ac:spMk id="3" creationId="{22B2B715-653C-5238-09BE-B01B91D4BD2D}"/>
          </ac:spMkLst>
        </pc:spChg>
        <pc:spChg chg="add del">
          <ac:chgData name="Tường SKHĐT" userId="ab9568c39a88b08a" providerId="LiveId" clId="{C9C9E8F3-8FCD-4EE8-870E-E66814DBD785}" dt="2022-11-23T07:03:46.386" v="1300" actId="478"/>
          <ac:spMkLst>
            <pc:docMk/>
            <pc:sldMk cId="3890164795" sldId="529"/>
            <ac:spMk id="7" creationId="{08F7292A-2C41-00FC-6DC8-5A83037C93EC}"/>
          </ac:spMkLst>
        </pc:spChg>
        <pc:spChg chg="mod">
          <ac:chgData name="Tường SKHĐT" userId="ab9568c39a88b08a" providerId="LiveId" clId="{C9C9E8F3-8FCD-4EE8-870E-E66814DBD785}" dt="2022-11-23T07:03:40.993" v="1296" actId="20577"/>
          <ac:spMkLst>
            <pc:docMk/>
            <pc:sldMk cId="3890164795" sldId="529"/>
            <ac:spMk id="8" creationId="{1B2B3B43-1FE8-D585-2205-9EB6EFD5B656}"/>
          </ac:spMkLst>
        </pc:spChg>
        <pc:cxnChg chg="del">
          <ac:chgData name="Tường SKHĐT" userId="ab9568c39a88b08a" providerId="LiveId" clId="{C9C9E8F3-8FCD-4EE8-870E-E66814DBD785}" dt="2022-11-23T07:03:49.217" v="1301" actId="478"/>
          <ac:cxnSpMkLst>
            <pc:docMk/>
            <pc:sldMk cId="3890164795" sldId="529"/>
            <ac:cxnSpMk id="11" creationId="{00000000-0000-0000-0000-000000000000}"/>
          </ac:cxnSpMkLst>
        </pc:cxnChg>
        <pc:cxnChg chg="del">
          <ac:chgData name="Tường SKHĐT" userId="ab9568c39a88b08a" providerId="LiveId" clId="{C9C9E8F3-8FCD-4EE8-870E-E66814DBD785}" dt="2022-11-23T07:03:43.995" v="1298" actId="478"/>
          <ac:cxnSpMkLst>
            <pc:docMk/>
            <pc:sldMk cId="3890164795" sldId="529"/>
            <ac:cxnSpMk id="13" creationId="{00000000-0000-0000-0000-000000000000}"/>
          </ac:cxnSpMkLst>
        </pc:cxnChg>
        <pc:cxnChg chg="del">
          <ac:chgData name="Tường SKHĐT" userId="ab9568c39a88b08a" providerId="LiveId" clId="{C9C9E8F3-8FCD-4EE8-870E-E66814DBD785}" dt="2022-11-23T07:03:43.025" v="1297" actId="478"/>
          <ac:cxnSpMkLst>
            <pc:docMk/>
            <pc:sldMk cId="3890164795" sldId="529"/>
            <ac:cxnSpMk id="14" creationId="{00000000-0000-0000-0000-000000000000}"/>
          </ac:cxnSpMkLst>
        </pc:cxnChg>
      </pc:sldChg>
      <pc:sldChg chg="del">
        <pc:chgData name="Tường SKHĐT" userId="ab9568c39a88b08a" providerId="LiveId" clId="{C9C9E8F3-8FCD-4EE8-870E-E66814DBD785}" dt="2022-11-23T08:51:01.234" v="3909" actId="2696"/>
        <pc:sldMkLst>
          <pc:docMk/>
          <pc:sldMk cId="2299284800" sldId="530"/>
        </pc:sldMkLst>
      </pc:sldChg>
      <pc:sldChg chg="del">
        <pc:chgData name="Tường SKHĐT" userId="ab9568c39a88b08a" providerId="LiveId" clId="{C9C9E8F3-8FCD-4EE8-870E-E66814DBD785}" dt="2022-11-23T08:50:58.807" v="3908" actId="2696"/>
        <pc:sldMkLst>
          <pc:docMk/>
          <pc:sldMk cId="745501734" sldId="531"/>
        </pc:sldMkLst>
      </pc:sldChg>
      <pc:sldChg chg="addSp delSp modSp add mod">
        <pc:chgData name="Tường SKHĐT" userId="ab9568c39a88b08a" providerId="LiveId" clId="{C9C9E8F3-8FCD-4EE8-870E-E66814DBD785}" dt="2022-11-23T07:11:07.425" v="1502" actId="1076"/>
        <pc:sldMkLst>
          <pc:docMk/>
          <pc:sldMk cId="19227378" sldId="536"/>
        </pc:sldMkLst>
        <pc:spChg chg="del">
          <ac:chgData name="Tường SKHĐT" userId="ab9568c39a88b08a" providerId="LiveId" clId="{C9C9E8F3-8FCD-4EE8-870E-E66814DBD785}" dt="2022-11-23T03:41:36.347" v="590" actId="21"/>
          <ac:spMkLst>
            <pc:docMk/>
            <pc:sldMk cId="19227378" sldId="536"/>
            <ac:spMk id="2" creationId="{E44EE9E0-4EA3-0404-EFB1-8C6F74BFB274}"/>
          </ac:spMkLst>
        </pc:spChg>
        <pc:spChg chg="mod">
          <ac:chgData name="Tường SKHĐT" userId="ab9568c39a88b08a" providerId="LiveId" clId="{C9C9E8F3-8FCD-4EE8-870E-E66814DBD785}" dt="2022-11-23T07:11:07.425" v="1502" actId="1076"/>
          <ac:spMkLst>
            <pc:docMk/>
            <pc:sldMk cId="19227378" sldId="536"/>
            <ac:spMk id="3" creationId="{22B2B715-653C-5238-09BE-B01B91D4BD2D}"/>
          </ac:spMkLst>
        </pc:spChg>
        <pc:spChg chg="add del mod">
          <ac:chgData name="Tường SKHĐT" userId="ab9568c39a88b08a" providerId="LiveId" clId="{C9C9E8F3-8FCD-4EE8-870E-E66814DBD785}" dt="2022-11-23T07:11:04.797" v="1501" actId="14100"/>
          <ac:spMkLst>
            <pc:docMk/>
            <pc:sldMk cId="19227378" sldId="536"/>
            <ac:spMk id="4" creationId="{9D2F2080-50A0-6420-BD42-38A92C6AB08D}"/>
          </ac:spMkLst>
        </pc:spChg>
        <pc:spChg chg="add mod">
          <ac:chgData name="Tường SKHĐT" userId="ab9568c39a88b08a" providerId="LiveId" clId="{C9C9E8F3-8FCD-4EE8-870E-E66814DBD785}" dt="2022-11-23T03:41:50.502" v="595" actId="1076"/>
          <ac:spMkLst>
            <pc:docMk/>
            <pc:sldMk cId="19227378" sldId="536"/>
            <ac:spMk id="5" creationId="{70C37ACE-48A0-8864-1626-74536027A5AE}"/>
          </ac:spMkLst>
        </pc:spChg>
        <pc:spChg chg="del">
          <ac:chgData name="Tường SKHĐT" userId="ab9568c39a88b08a" providerId="LiveId" clId="{C9C9E8F3-8FCD-4EE8-870E-E66814DBD785}" dt="2022-11-23T03:41:38.764" v="591" actId="21"/>
          <ac:spMkLst>
            <pc:docMk/>
            <pc:sldMk cId="19227378" sldId="536"/>
            <ac:spMk id="8" creationId="{310BDFE0-6C26-8FF6-17BC-7D420AAE6BB9}"/>
          </ac:spMkLst>
        </pc:spChg>
      </pc:sldChg>
      <pc:sldChg chg="delSp modSp add mod">
        <pc:chgData name="Tường SKHĐT" userId="ab9568c39a88b08a" providerId="LiveId" clId="{C9C9E8F3-8FCD-4EE8-870E-E66814DBD785}" dt="2022-11-23T03:47:56.031" v="1177" actId="1076"/>
        <pc:sldMkLst>
          <pc:docMk/>
          <pc:sldMk cId="1981545111" sldId="537"/>
        </pc:sldMkLst>
        <pc:spChg chg="mod">
          <ac:chgData name="Tường SKHĐT" userId="ab9568c39a88b08a" providerId="LiveId" clId="{C9C9E8F3-8FCD-4EE8-870E-E66814DBD785}" dt="2022-11-23T03:46:06.117" v="979" actId="20577"/>
          <ac:spMkLst>
            <pc:docMk/>
            <pc:sldMk cId="1981545111" sldId="537"/>
            <ac:spMk id="2" creationId="{00000000-0000-0000-0000-000000000000}"/>
          </ac:spMkLst>
        </pc:spChg>
        <pc:spChg chg="mod">
          <ac:chgData name="Tường SKHĐT" userId="ab9568c39a88b08a" providerId="LiveId" clId="{C9C9E8F3-8FCD-4EE8-870E-E66814DBD785}" dt="2022-11-23T03:46:53.260" v="1045" actId="20577"/>
          <ac:spMkLst>
            <pc:docMk/>
            <pc:sldMk cId="1981545111" sldId="537"/>
            <ac:spMk id="3" creationId="{48C5AA30-B236-37F0-69A7-41FCE41C3A2B}"/>
          </ac:spMkLst>
        </pc:spChg>
        <pc:spChg chg="mod">
          <ac:chgData name="Tường SKHĐT" userId="ab9568c39a88b08a" providerId="LiveId" clId="{C9C9E8F3-8FCD-4EE8-870E-E66814DBD785}" dt="2022-11-23T03:47:20.820" v="1112" actId="20577"/>
          <ac:spMkLst>
            <pc:docMk/>
            <pc:sldMk cId="1981545111" sldId="537"/>
            <ac:spMk id="21" creationId="{00000000-0000-0000-0000-000000000000}"/>
          </ac:spMkLst>
        </pc:spChg>
        <pc:spChg chg="mod">
          <ac:chgData name="Tường SKHĐT" userId="ab9568c39a88b08a" providerId="LiveId" clId="{C9C9E8F3-8FCD-4EE8-870E-E66814DBD785}" dt="2022-11-23T03:47:15.383" v="1106" actId="20577"/>
          <ac:spMkLst>
            <pc:docMk/>
            <pc:sldMk cId="1981545111" sldId="537"/>
            <ac:spMk id="22" creationId="{00000000-0000-0000-0000-000000000000}"/>
          </ac:spMkLst>
        </pc:spChg>
        <pc:spChg chg="mod">
          <ac:chgData name="Tường SKHĐT" userId="ab9568c39a88b08a" providerId="LiveId" clId="{C9C9E8F3-8FCD-4EE8-870E-E66814DBD785}" dt="2022-11-23T03:47:25.925" v="1118" actId="20577"/>
          <ac:spMkLst>
            <pc:docMk/>
            <pc:sldMk cId="1981545111" sldId="537"/>
            <ac:spMk id="25" creationId="{00000000-0000-0000-0000-000000000000}"/>
          </ac:spMkLst>
        </pc:spChg>
        <pc:spChg chg="mod">
          <ac:chgData name="Tường SKHĐT" userId="ab9568c39a88b08a" providerId="LiveId" clId="{C9C9E8F3-8FCD-4EE8-870E-E66814DBD785}" dt="2022-11-23T03:47:46.267" v="1175" actId="6549"/>
          <ac:spMkLst>
            <pc:docMk/>
            <pc:sldMk cId="1981545111" sldId="537"/>
            <ac:spMk id="26" creationId="{00000000-0000-0000-0000-000000000000}"/>
          </ac:spMkLst>
        </pc:spChg>
        <pc:spChg chg="mod">
          <ac:chgData name="Tường SKHĐT" userId="ab9568c39a88b08a" providerId="LiveId" clId="{C9C9E8F3-8FCD-4EE8-870E-E66814DBD785}" dt="2022-11-23T03:47:05.460" v="1080" actId="20577"/>
          <ac:spMkLst>
            <pc:docMk/>
            <pc:sldMk cId="1981545111" sldId="537"/>
            <ac:spMk id="28" creationId="{00000000-0000-0000-0000-000000000000}"/>
          </ac:spMkLst>
        </pc:spChg>
        <pc:picChg chg="mod">
          <ac:chgData name="Tường SKHĐT" userId="ab9568c39a88b08a" providerId="LiveId" clId="{C9C9E8F3-8FCD-4EE8-870E-E66814DBD785}" dt="2022-11-23T03:47:56.031" v="1177" actId="1076"/>
          <ac:picMkLst>
            <pc:docMk/>
            <pc:sldMk cId="1981545111" sldId="537"/>
            <ac:picMk id="10" creationId="{A5311436-773C-DD72-49E5-6048D5B47A32}"/>
          </ac:picMkLst>
        </pc:picChg>
        <pc:picChg chg="del">
          <ac:chgData name="Tường SKHĐT" userId="ab9568c39a88b08a" providerId="LiveId" clId="{C9C9E8F3-8FCD-4EE8-870E-E66814DBD785}" dt="2022-11-23T03:47:52.779" v="1176" actId="21"/>
          <ac:picMkLst>
            <pc:docMk/>
            <pc:sldMk cId="1981545111" sldId="537"/>
            <ac:picMk id="11" creationId="{1E77B572-C228-F655-92EF-7ABDC1A72BFA}"/>
          </ac:picMkLst>
        </pc:picChg>
      </pc:sldChg>
      <pc:sldChg chg="modSp add mod">
        <pc:chgData name="Tường SKHĐT" userId="ab9568c39a88b08a" providerId="LiveId" clId="{C9C9E8F3-8FCD-4EE8-870E-E66814DBD785}" dt="2022-11-23T08:58:58.781" v="4191" actId="20577"/>
        <pc:sldMkLst>
          <pc:docMk/>
          <pc:sldMk cId="1663666244" sldId="538"/>
        </pc:sldMkLst>
        <pc:spChg chg="mod">
          <ac:chgData name="Tường SKHĐT" userId="ab9568c39a88b08a" providerId="LiveId" clId="{C9C9E8F3-8FCD-4EE8-870E-E66814DBD785}" dt="2022-11-23T07:08:10.467" v="1386" actId="20577"/>
          <ac:spMkLst>
            <pc:docMk/>
            <pc:sldMk cId="1663666244" sldId="538"/>
            <ac:spMk id="2" creationId="{4219F808-181B-0133-F1E0-2E11448658B7}"/>
          </ac:spMkLst>
        </pc:spChg>
        <pc:spChg chg="mod">
          <ac:chgData name="Tường SKHĐT" userId="ab9568c39a88b08a" providerId="LiveId" clId="{C9C9E8F3-8FCD-4EE8-870E-E66814DBD785}" dt="2022-11-23T07:10:23.143" v="1499" actId="1076"/>
          <ac:spMkLst>
            <pc:docMk/>
            <pc:sldMk cId="1663666244" sldId="538"/>
            <ac:spMk id="3" creationId="{22B2B715-653C-5238-09BE-B01B91D4BD2D}"/>
          </ac:spMkLst>
        </pc:spChg>
        <pc:spChg chg="mod">
          <ac:chgData name="Tường SKHĐT" userId="ab9568c39a88b08a" providerId="LiveId" clId="{C9C9E8F3-8FCD-4EE8-870E-E66814DBD785}" dt="2022-11-23T08:58:58.781" v="4191" actId="20577"/>
          <ac:spMkLst>
            <pc:docMk/>
            <pc:sldMk cId="1663666244" sldId="538"/>
            <ac:spMk id="8" creationId="{1B2B3B43-1FE8-D585-2205-9EB6EFD5B656}"/>
          </ac:spMkLst>
        </pc:spChg>
      </pc:sldChg>
      <pc:sldChg chg="modSp add mod">
        <pc:chgData name="Tường SKHĐT" userId="ab9568c39a88b08a" providerId="LiveId" clId="{C9C9E8F3-8FCD-4EE8-870E-E66814DBD785}" dt="2022-11-23T08:50:48.581" v="3907" actId="1035"/>
        <pc:sldMkLst>
          <pc:docMk/>
          <pc:sldMk cId="2991163202" sldId="539"/>
        </pc:sldMkLst>
        <pc:spChg chg="mod">
          <ac:chgData name="Tường SKHĐT" userId="ab9568c39a88b08a" providerId="LiveId" clId="{C9C9E8F3-8FCD-4EE8-870E-E66814DBD785}" dt="2022-11-23T08:50:48.581" v="3907" actId="1035"/>
          <ac:spMkLst>
            <pc:docMk/>
            <pc:sldMk cId="2991163202" sldId="539"/>
            <ac:spMk id="3" creationId="{22B2B715-653C-5238-09BE-B01B91D4BD2D}"/>
          </ac:spMkLst>
        </pc:spChg>
        <pc:spChg chg="mod">
          <ac:chgData name="Tường SKHĐT" userId="ab9568c39a88b08a" providerId="LiveId" clId="{C9C9E8F3-8FCD-4EE8-870E-E66814DBD785}" dt="2022-11-23T07:34:45.779" v="2443" actId="1076"/>
          <ac:spMkLst>
            <pc:docMk/>
            <pc:sldMk cId="2991163202" sldId="539"/>
            <ac:spMk id="4" creationId="{9D2F2080-50A0-6420-BD42-38A92C6AB08D}"/>
          </ac:spMkLst>
        </pc:spChg>
        <pc:spChg chg="mod">
          <ac:chgData name="Tường SKHĐT" userId="ab9568c39a88b08a" providerId="LiveId" clId="{C9C9E8F3-8FCD-4EE8-870E-E66814DBD785}" dt="2022-11-23T07:34:53.183" v="2446" actId="403"/>
          <ac:spMkLst>
            <pc:docMk/>
            <pc:sldMk cId="2991163202" sldId="539"/>
            <ac:spMk id="5" creationId="{70C37ACE-48A0-8864-1626-74536027A5AE}"/>
          </ac:spMkLst>
        </pc:spChg>
      </pc:sldChg>
      <pc:sldChg chg="add del">
        <pc:chgData name="Tường SKHĐT" userId="ab9568c39a88b08a" providerId="LiveId" clId="{C9C9E8F3-8FCD-4EE8-870E-E66814DBD785}" dt="2022-11-23T07:35:12.451" v="2448" actId="2696"/>
        <pc:sldMkLst>
          <pc:docMk/>
          <pc:sldMk cId="3794016870" sldId="540"/>
        </pc:sldMkLst>
      </pc:sldChg>
      <pc:sldChg chg="modSp add mod">
        <pc:chgData name="Tường SKHĐT" userId="ab9568c39a88b08a" providerId="LiveId" clId="{C9C9E8F3-8FCD-4EE8-870E-E66814DBD785}" dt="2022-11-23T07:38:57.206" v="2727" actId="20577"/>
        <pc:sldMkLst>
          <pc:docMk/>
          <pc:sldMk cId="2319489907" sldId="541"/>
        </pc:sldMkLst>
        <pc:spChg chg="mod">
          <ac:chgData name="Tường SKHĐT" userId="ab9568c39a88b08a" providerId="LiveId" clId="{C9C9E8F3-8FCD-4EE8-870E-E66814DBD785}" dt="2022-11-23T07:37:27.183" v="2669" actId="1076"/>
          <ac:spMkLst>
            <pc:docMk/>
            <pc:sldMk cId="2319489907" sldId="541"/>
            <ac:spMk id="2" creationId="{E44EE9E0-4EA3-0404-EFB1-8C6F74BFB274}"/>
          </ac:spMkLst>
        </pc:spChg>
        <pc:spChg chg="mod">
          <ac:chgData name="Tường SKHĐT" userId="ab9568c39a88b08a" providerId="LiveId" clId="{C9C9E8F3-8FCD-4EE8-870E-E66814DBD785}" dt="2022-11-23T07:36:44.193" v="2668" actId="403"/>
          <ac:spMkLst>
            <pc:docMk/>
            <pc:sldMk cId="2319489907" sldId="541"/>
            <ac:spMk id="3" creationId="{22B2B715-653C-5238-09BE-B01B91D4BD2D}"/>
          </ac:spMkLst>
        </pc:spChg>
        <pc:spChg chg="mod">
          <ac:chgData name="Tường SKHĐT" userId="ab9568c39a88b08a" providerId="LiveId" clId="{C9C9E8F3-8FCD-4EE8-870E-E66814DBD785}" dt="2022-11-23T07:38:57.206" v="2727" actId="20577"/>
          <ac:spMkLst>
            <pc:docMk/>
            <pc:sldMk cId="2319489907" sldId="541"/>
            <ac:spMk id="8" creationId="{310BDFE0-6C26-8FF6-17BC-7D420AAE6BB9}"/>
          </ac:spMkLst>
        </pc:spChg>
      </pc:sldChg>
      <pc:sldChg chg="modSp add mod">
        <pc:chgData name="Tường SKHĐT" userId="ab9568c39a88b08a" providerId="LiveId" clId="{C9C9E8F3-8FCD-4EE8-870E-E66814DBD785}" dt="2022-11-23T07:45:32.241" v="2988" actId="404"/>
        <pc:sldMkLst>
          <pc:docMk/>
          <pc:sldMk cId="2569004803" sldId="542"/>
        </pc:sldMkLst>
        <pc:spChg chg="mod">
          <ac:chgData name="Tường SKHĐT" userId="ab9568c39a88b08a" providerId="LiveId" clId="{C9C9E8F3-8FCD-4EE8-870E-E66814DBD785}" dt="2022-11-23T07:43:56.627" v="2917" actId="403"/>
          <ac:spMkLst>
            <pc:docMk/>
            <pc:sldMk cId="2569004803" sldId="542"/>
            <ac:spMk id="2" creationId="{E44EE9E0-4EA3-0404-EFB1-8C6F74BFB274}"/>
          </ac:spMkLst>
        </pc:spChg>
        <pc:spChg chg="mod">
          <ac:chgData name="Tường SKHĐT" userId="ab9568c39a88b08a" providerId="LiveId" clId="{C9C9E8F3-8FCD-4EE8-870E-E66814DBD785}" dt="2022-11-23T07:45:32.241" v="2988" actId="404"/>
          <ac:spMkLst>
            <pc:docMk/>
            <pc:sldMk cId="2569004803" sldId="542"/>
            <ac:spMk id="3" creationId="{22B2B715-653C-5238-09BE-B01B91D4BD2D}"/>
          </ac:spMkLst>
        </pc:spChg>
        <pc:spChg chg="mod">
          <ac:chgData name="Tường SKHĐT" userId="ab9568c39a88b08a" providerId="LiveId" clId="{C9C9E8F3-8FCD-4EE8-870E-E66814DBD785}" dt="2022-11-23T07:39:07.234" v="2730" actId="20577"/>
          <ac:spMkLst>
            <pc:docMk/>
            <pc:sldMk cId="2569004803" sldId="542"/>
            <ac:spMk id="8" creationId="{310BDFE0-6C26-8FF6-17BC-7D420AAE6BB9}"/>
          </ac:spMkLst>
        </pc:spChg>
      </pc:sldChg>
      <pc:sldChg chg="modSp add mod">
        <pc:chgData name="Tường SKHĐT" userId="ab9568c39a88b08a" providerId="LiveId" clId="{C9C9E8F3-8FCD-4EE8-870E-E66814DBD785}" dt="2022-11-23T08:35:39.847" v="3337" actId="20577"/>
        <pc:sldMkLst>
          <pc:docMk/>
          <pc:sldMk cId="222035395" sldId="543"/>
        </pc:sldMkLst>
        <pc:spChg chg="mod">
          <ac:chgData name="Tường SKHĐT" userId="ab9568c39a88b08a" providerId="LiveId" clId="{C9C9E8F3-8FCD-4EE8-870E-E66814DBD785}" dt="2022-11-23T08:34:10.870" v="3317" actId="20577"/>
          <ac:spMkLst>
            <pc:docMk/>
            <pc:sldMk cId="222035395" sldId="543"/>
            <ac:spMk id="2" creationId="{E44EE9E0-4EA3-0404-EFB1-8C6F74BFB274}"/>
          </ac:spMkLst>
        </pc:spChg>
        <pc:spChg chg="mod">
          <ac:chgData name="Tường SKHĐT" userId="ab9568c39a88b08a" providerId="LiveId" clId="{C9C9E8F3-8FCD-4EE8-870E-E66814DBD785}" dt="2022-11-23T08:35:39.847" v="3337" actId="20577"/>
          <ac:spMkLst>
            <pc:docMk/>
            <pc:sldMk cId="222035395" sldId="543"/>
            <ac:spMk id="3" creationId="{22B2B715-653C-5238-09BE-B01B91D4BD2D}"/>
          </ac:spMkLst>
        </pc:spChg>
      </pc:sldChg>
      <pc:sldChg chg="modSp add mod">
        <pc:chgData name="Tường SKHĐT" userId="ab9568c39a88b08a" providerId="LiveId" clId="{C9C9E8F3-8FCD-4EE8-870E-E66814DBD785}" dt="2022-11-23T08:37:48.479" v="3483" actId="20577"/>
        <pc:sldMkLst>
          <pc:docMk/>
          <pc:sldMk cId="2756607218" sldId="544"/>
        </pc:sldMkLst>
        <pc:spChg chg="mod">
          <ac:chgData name="Tường SKHĐT" userId="ab9568c39a88b08a" providerId="LiveId" clId="{C9C9E8F3-8FCD-4EE8-870E-E66814DBD785}" dt="2022-11-23T08:36:51.204" v="3464" actId="20577"/>
          <ac:spMkLst>
            <pc:docMk/>
            <pc:sldMk cId="2756607218" sldId="544"/>
            <ac:spMk id="2" creationId="{E44EE9E0-4EA3-0404-EFB1-8C6F74BFB274}"/>
          </ac:spMkLst>
        </pc:spChg>
        <pc:spChg chg="mod">
          <ac:chgData name="Tường SKHĐT" userId="ab9568c39a88b08a" providerId="LiveId" clId="{C9C9E8F3-8FCD-4EE8-870E-E66814DBD785}" dt="2022-11-23T08:37:48.479" v="3483" actId="20577"/>
          <ac:spMkLst>
            <pc:docMk/>
            <pc:sldMk cId="2756607218" sldId="544"/>
            <ac:spMk id="3" creationId="{22B2B715-653C-5238-09BE-B01B91D4BD2D}"/>
          </ac:spMkLst>
        </pc:spChg>
      </pc:sldChg>
      <pc:sldChg chg="modSp add mod">
        <pc:chgData name="Tường SKHĐT" userId="ab9568c39a88b08a" providerId="LiveId" clId="{C9C9E8F3-8FCD-4EE8-870E-E66814DBD785}" dt="2022-11-23T08:40:39.164" v="3624" actId="1076"/>
        <pc:sldMkLst>
          <pc:docMk/>
          <pc:sldMk cId="2512179538" sldId="545"/>
        </pc:sldMkLst>
        <pc:spChg chg="mod">
          <ac:chgData name="Tường SKHĐT" userId="ab9568c39a88b08a" providerId="LiveId" clId="{C9C9E8F3-8FCD-4EE8-870E-E66814DBD785}" dt="2022-11-23T08:38:13.272" v="3559" actId="20577"/>
          <ac:spMkLst>
            <pc:docMk/>
            <pc:sldMk cId="2512179538" sldId="545"/>
            <ac:spMk id="2" creationId="{E44EE9E0-4EA3-0404-EFB1-8C6F74BFB274}"/>
          </ac:spMkLst>
        </pc:spChg>
        <pc:spChg chg="mod">
          <ac:chgData name="Tường SKHĐT" userId="ab9568c39a88b08a" providerId="LiveId" clId="{C9C9E8F3-8FCD-4EE8-870E-E66814DBD785}" dt="2022-11-23T08:40:39.164" v="3624" actId="1076"/>
          <ac:spMkLst>
            <pc:docMk/>
            <pc:sldMk cId="2512179538" sldId="545"/>
            <ac:spMk id="3" creationId="{22B2B715-653C-5238-09BE-B01B91D4BD2D}"/>
          </ac:spMkLst>
        </pc:spChg>
      </pc:sldChg>
      <pc:sldChg chg="addSp modSp add mod">
        <pc:chgData name="Tường SKHĐT" userId="ab9568c39a88b08a" providerId="LiveId" clId="{C9C9E8F3-8FCD-4EE8-870E-E66814DBD785}" dt="2022-11-23T08:50:38.245" v="3905" actId="1076"/>
        <pc:sldMkLst>
          <pc:docMk/>
          <pc:sldMk cId="2154953636" sldId="546"/>
        </pc:sldMkLst>
        <pc:spChg chg="mod">
          <ac:chgData name="Tường SKHĐT" userId="ab9568c39a88b08a" providerId="LiveId" clId="{C9C9E8F3-8FCD-4EE8-870E-E66814DBD785}" dt="2022-11-23T08:50:38.245" v="3905" actId="1076"/>
          <ac:spMkLst>
            <pc:docMk/>
            <pc:sldMk cId="2154953636" sldId="546"/>
            <ac:spMk id="2" creationId="{E44EE9E0-4EA3-0404-EFB1-8C6F74BFB274}"/>
          </ac:spMkLst>
        </pc:spChg>
        <pc:spChg chg="mod">
          <ac:chgData name="Tường SKHĐT" userId="ab9568c39a88b08a" providerId="LiveId" clId="{C9C9E8F3-8FCD-4EE8-870E-E66814DBD785}" dt="2022-11-23T08:47:07.384" v="3793" actId="1076"/>
          <ac:spMkLst>
            <pc:docMk/>
            <pc:sldMk cId="2154953636" sldId="546"/>
            <ac:spMk id="3" creationId="{22B2B715-653C-5238-09BE-B01B91D4BD2D}"/>
          </ac:spMkLst>
        </pc:spChg>
        <pc:picChg chg="add mod">
          <ac:chgData name="Tường SKHĐT" userId="ab9568c39a88b08a" providerId="LiveId" clId="{C9C9E8F3-8FCD-4EE8-870E-E66814DBD785}" dt="2022-11-23T08:46:40.057" v="3789" actId="1076"/>
          <ac:picMkLst>
            <pc:docMk/>
            <pc:sldMk cId="2154953636" sldId="546"/>
            <ac:picMk id="6" creationId="{844D2E3A-3DA3-41F3-C08D-968A90C48B64}"/>
          </ac:picMkLst>
        </pc:picChg>
        <pc:picChg chg="add mod">
          <ac:chgData name="Tường SKHĐT" userId="ab9568c39a88b08a" providerId="LiveId" clId="{C9C9E8F3-8FCD-4EE8-870E-E66814DBD785}" dt="2022-11-23T08:46:45.880" v="3791" actId="14100"/>
          <ac:picMkLst>
            <pc:docMk/>
            <pc:sldMk cId="2154953636" sldId="546"/>
            <ac:picMk id="9" creationId="{7D3AF09C-8B78-4731-626E-B22B15D2BBFD}"/>
          </ac:picMkLst>
        </pc:picChg>
      </pc:sldChg>
      <pc:sldChg chg="modSp add mod modAnim">
        <pc:chgData name="Tường SKHĐT" userId="ab9568c39a88b08a" providerId="LiveId" clId="{C9C9E8F3-8FCD-4EE8-870E-E66814DBD785}" dt="2022-11-23T08:50:32.078" v="3904" actId="20577"/>
        <pc:sldMkLst>
          <pc:docMk/>
          <pc:sldMk cId="3487944892" sldId="547"/>
        </pc:sldMkLst>
        <pc:spChg chg="mod">
          <ac:chgData name="Tường SKHĐT" userId="ab9568c39a88b08a" providerId="LiveId" clId="{C9C9E8F3-8FCD-4EE8-870E-E66814DBD785}" dt="2022-11-23T08:50:24.494" v="3899" actId="20577"/>
          <ac:spMkLst>
            <pc:docMk/>
            <pc:sldMk cId="3487944892" sldId="547"/>
            <ac:spMk id="3" creationId="{00000000-0000-0000-0000-000000000000}"/>
          </ac:spMkLst>
        </pc:spChg>
        <pc:spChg chg="mod">
          <ac:chgData name="Tường SKHĐT" userId="ab9568c39a88b08a" providerId="LiveId" clId="{C9C9E8F3-8FCD-4EE8-870E-E66814DBD785}" dt="2022-11-23T08:50:32.078" v="3904" actId="20577"/>
          <ac:spMkLst>
            <pc:docMk/>
            <pc:sldMk cId="3487944892" sldId="547"/>
            <ac:spMk id="8" creationId="{00000000-0000-0000-0000-000000000000}"/>
          </ac:spMkLst>
        </pc:spChg>
      </pc:sldChg>
      <pc:sldChg chg="modSp add mod">
        <pc:chgData name="Tường SKHĐT" userId="ab9568c39a88b08a" providerId="LiveId" clId="{C9C9E8F3-8FCD-4EE8-870E-E66814DBD785}" dt="2022-11-23T08:54:23.510" v="4116" actId="14734"/>
        <pc:sldMkLst>
          <pc:docMk/>
          <pc:sldMk cId="3705417774" sldId="548"/>
        </pc:sldMkLst>
        <pc:spChg chg="mod">
          <ac:chgData name="Tường SKHĐT" userId="ab9568c39a88b08a" providerId="LiveId" clId="{C9C9E8F3-8FCD-4EE8-870E-E66814DBD785}" dt="2022-11-23T08:52:34.716" v="3986" actId="20577"/>
          <ac:spMkLst>
            <pc:docMk/>
            <pc:sldMk cId="3705417774" sldId="548"/>
            <ac:spMk id="4" creationId="{00000000-0000-0000-0000-000000000000}"/>
          </ac:spMkLst>
        </pc:spChg>
        <pc:graphicFrameChg chg="mod modGraphic">
          <ac:chgData name="Tường SKHĐT" userId="ab9568c39a88b08a" providerId="LiveId" clId="{C9C9E8F3-8FCD-4EE8-870E-E66814DBD785}" dt="2022-11-23T08:54:23.510" v="4116" actId="14734"/>
          <ac:graphicFrameMkLst>
            <pc:docMk/>
            <pc:sldMk cId="3705417774" sldId="548"/>
            <ac:graphicFrameMk id="2" creationId="{00000000-0000-0000-0000-000000000000}"/>
          </ac:graphicFrameMkLst>
        </pc:graphicFrameChg>
      </pc:sldChg>
      <pc:sldChg chg="modSp add mod">
        <pc:chgData name="Tường SKHĐT" userId="ab9568c39a88b08a" providerId="LiveId" clId="{C9C9E8F3-8FCD-4EE8-870E-E66814DBD785}" dt="2022-11-23T08:57:08.980" v="4183" actId="20577"/>
        <pc:sldMkLst>
          <pc:docMk/>
          <pc:sldMk cId="1616508679" sldId="549"/>
        </pc:sldMkLst>
        <pc:spChg chg="mod">
          <ac:chgData name="Tường SKHĐT" userId="ab9568c39a88b08a" providerId="LiveId" clId="{C9C9E8F3-8FCD-4EE8-870E-E66814DBD785}" dt="2022-11-23T08:53:51.172" v="4102"/>
          <ac:spMkLst>
            <pc:docMk/>
            <pc:sldMk cId="1616508679" sldId="549"/>
            <ac:spMk id="4" creationId="{00000000-0000-0000-0000-000000000000}"/>
          </ac:spMkLst>
        </pc:spChg>
        <pc:graphicFrameChg chg="modGraphic">
          <ac:chgData name="Tường SKHĐT" userId="ab9568c39a88b08a" providerId="LiveId" clId="{C9C9E8F3-8FCD-4EE8-870E-E66814DBD785}" dt="2022-11-23T08:57:08.980" v="4183" actId="20577"/>
          <ac:graphicFrameMkLst>
            <pc:docMk/>
            <pc:sldMk cId="1616508679" sldId="549"/>
            <ac:graphicFrameMk id="3" creationId="{00000000-0000-0000-0000-000000000000}"/>
          </ac:graphicFrameMkLst>
        </pc:graphicFrameChg>
      </pc:sldChg>
      <pc:sldChg chg="modSp add mod">
        <pc:chgData name="Tường SKHĐT" userId="ab9568c39a88b08a" providerId="LiveId" clId="{C9C9E8F3-8FCD-4EE8-870E-E66814DBD785}" dt="2022-11-23T08:55:40.817" v="4149" actId="1076"/>
        <pc:sldMkLst>
          <pc:docMk/>
          <pc:sldMk cId="4175035142" sldId="550"/>
        </pc:sldMkLst>
        <pc:spChg chg="mod">
          <ac:chgData name="Tường SKHĐT" userId="ab9568c39a88b08a" providerId="LiveId" clId="{C9C9E8F3-8FCD-4EE8-870E-E66814DBD785}" dt="2022-11-23T08:53:55.077" v="4103"/>
          <ac:spMkLst>
            <pc:docMk/>
            <pc:sldMk cId="4175035142" sldId="550"/>
            <ac:spMk id="4" creationId="{00000000-0000-0000-0000-000000000000}"/>
          </ac:spMkLst>
        </pc:spChg>
        <pc:graphicFrameChg chg="mod modGraphic">
          <ac:chgData name="Tường SKHĐT" userId="ab9568c39a88b08a" providerId="LiveId" clId="{C9C9E8F3-8FCD-4EE8-870E-E66814DBD785}" dt="2022-11-23T08:55:40.817" v="4149" actId="1076"/>
          <ac:graphicFrameMkLst>
            <pc:docMk/>
            <pc:sldMk cId="4175035142" sldId="550"/>
            <ac:graphicFrameMk id="3" creationId="{00000000-0000-0000-0000-000000000000}"/>
          </ac:graphicFrameMkLst>
        </pc:graphicFrameChg>
      </pc:sldChg>
    </pc:docChg>
  </pc:docChgLst>
  <pc:docChgLst>
    <pc:chgData name="Tường SKHĐT" userId="ab9568c39a88b08a" providerId="LiveId" clId="{D0D0D6DB-4B24-4E2C-A5FA-2AD6DFFBD362}"/>
    <pc:docChg chg="undo custSel addSld delSld modSld">
      <pc:chgData name="Tường SKHĐT" userId="ab9568c39a88b08a" providerId="LiveId" clId="{D0D0D6DB-4B24-4E2C-A5FA-2AD6DFFBD362}" dt="2023-01-30T04:29:29.876" v="4556" actId="20577"/>
      <pc:docMkLst>
        <pc:docMk/>
      </pc:docMkLst>
      <pc:sldChg chg="add del">
        <pc:chgData name="Tường SKHĐT" userId="ab9568c39a88b08a" providerId="LiveId" clId="{D0D0D6DB-4B24-4E2C-A5FA-2AD6DFFBD362}" dt="2023-01-30T04:01:08.165" v="3131" actId="2696"/>
        <pc:sldMkLst>
          <pc:docMk/>
          <pc:sldMk cId="0" sldId="261"/>
        </pc:sldMkLst>
      </pc:sldChg>
      <pc:sldChg chg="add del">
        <pc:chgData name="Tường SKHĐT" userId="ab9568c39a88b08a" providerId="LiveId" clId="{D0D0D6DB-4B24-4E2C-A5FA-2AD6DFFBD362}" dt="2023-01-30T03:16:35.049" v="1906" actId="2696"/>
        <pc:sldMkLst>
          <pc:docMk/>
          <pc:sldMk cId="0" sldId="263"/>
        </pc:sldMkLst>
      </pc:sldChg>
      <pc:sldChg chg="add del">
        <pc:chgData name="Tường SKHĐT" userId="ab9568c39a88b08a" providerId="LiveId" clId="{D0D0D6DB-4B24-4E2C-A5FA-2AD6DFFBD362}" dt="2023-01-30T03:03:44.933" v="1243" actId="2696"/>
        <pc:sldMkLst>
          <pc:docMk/>
          <pc:sldMk cId="2934248644" sldId="276"/>
        </pc:sldMkLst>
      </pc:sldChg>
      <pc:sldChg chg="add del">
        <pc:chgData name="Tường SKHĐT" userId="ab9568c39a88b08a" providerId="LiveId" clId="{D0D0D6DB-4B24-4E2C-A5FA-2AD6DFFBD362}" dt="2023-01-30T04:16:37.355" v="3921" actId="2696"/>
        <pc:sldMkLst>
          <pc:docMk/>
          <pc:sldMk cId="3305523253" sldId="405"/>
        </pc:sldMkLst>
      </pc:sldChg>
      <pc:sldChg chg="modSp add del mod">
        <pc:chgData name="Tường SKHĐT" userId="ab9568c39a88b08a" providerId="LiveId" clId="{D0D0D6DB-4B24-4E2C-A5FA-2AD6DFFBD362}" dt="2023-01-30T03:12:21.416" v="1805" actId="2696"/>
        <pc:sldMkLst>
          <pc:docMk/>
          <pc:sldMk cId="2024374373" sldId="434"/>
        </pc:sldMkLst>
        <pc:spChg chg="mod">
          <ac:chgData name="Tường SKHĐT" userId="ab9568c39a88b08a" providerId="LiveId" clId="{D0D0D6DB-4B24-4E2C-A5FA-2AD6DFFBD362}" dt="2023-01-30T02:57:35.464" v="1101" actId="20577"/>
          <ac:spMkLst>
            <pc:docMk/>
            <pc:sldMk cId="2024374373" sldId="434"/>
            <ac:spMk id="2" creationId="{00000000-0000-0000-0000-000000000000}"/>
          </ac:spMkLst>
        </pc:spChg>
        <pc:spChg chg="mod">
          <ac:chgData name="Tường SKHĐT" userId="ab9568c39a88b08a" providerId="LiveId" clId="{D0D0D6DB-4B24-4E2C-A5FA-2AD6DFFBD362}" dt="2023-01-30T02:58:32.360" v="1108" actId="20577"/>
          <ac:spMkLst>
            <pc:docMk/>
            <pc:sldMk cId="2024374373" sldId="434"/>
            <ac:spMk id="4" creationId="{00000000-0000-0000-0000-000000000000}"/>
          </ac:spMkLst>
        </pc:spChg>
        <pc:spChg chg="mod">
          <ac:chgData name="Tường SKHĐT" userId="ab9568c39a88b08a" providerId="LiveId" clId="{D0D0D6DB-4B24-4E2C-A5FA-2AD6DFFBD362}" dt="2023-01-30T02:58:49.529" v="1123" actId="20577"/>
          <ac:spMkLst>
            <pc:docMk/>
            <pc:sldMk cId="2024374373" sldId="434"/>
            <ac:spMk id="15" creationId="{00000000-0000-0000-0000-000000000000}"/>
          </ac:spMkLst>
        </pc:spChg>
        <pc:spChg chg="mod">
          <ac:chgData name="Tường SKHĐT" userId="ab9568c39a88b08a" providerId="LiveId" clId="{D0D0D6DB-4B24-4E2C-A5FA-2AD6DFFBD362}" dt="2023-01-30T02:58:57.992" v="1132" actId="20577"/>
          <ac:spMkLst>
            <pc:docMk/>
            <pc:sldMk cId="2024374373" sldId="434"/>
            <ac:spMk id="16" creationId="{00000000-0000-0000-0000-000000000000}"/>
          </ac:spMkLst>
        </pc:spChg>
        <pc:spChg chg="mod">
          <ac:chgData name="Tường SKHĐT" userId="ab9568c39a88b08a" providerId="LiveId" clId="{D0D0D6DB-4B24-4E2C-A5FA-2AD6DFFBD362}" dt="2023-01-30T02:58:42.588" v="1117" actId="20577"/>
          <ac:spMkLst>
            <pc:docMk/>
            <pc:sldMk cId="2024374373" sldId="434"/>
            <ac:spMk id="17" creationId="{00000000-0000-0000-0000-000000000000}"/>
          </ac:spMkLst>
        </pc:spChg>
        <pc:spChg chg="mod">
          <ac:chgData name="Tường SKHĐT" userId="ab9568c39a88b08a" providerId="LiveId" clId="{D0D0D6DB-4B24-4E2C-A5FA-2AD6DFFBD362}" dt="2023-01-30T02:59:01.234" v="1139" actId="20577"/>
          <ac:spMkLst>
            <pc:docMk/>
            <pc:sldMk cId="2024374373" sldId="434"/>
            <ac:spMk id="18" creationId="{00000000-0000-0000-0000-000000000000}"/>
          </ac:spMkLst>
        </pc:spChg>
      </pc:sldChg>
      <pc:sldChg chg="add del">
        <pc:chgData name="Tường SKHĐT" userId="ab9568c39a88b08a" providerId="LiveId" clId="{D0D0D6DB-4B24-4E2C-A5FA-2AD6DFFBD362}" dt="2023-01-30T04:00:47.116" v="3127" actId="2696"/>
        <pc:sldMkLst>
          <pc:docMk/>
          <pc:sldMk cId="2363256103" sldId="436"/>
        </pc:sldMkLst>
      </pc:sldChg>
      <pc:sldChg chg="add del">
        <pc:chgData name="Tường SKHĐT" userId="ab9568c39a88b08a" providerId="LiveId" clId="{D0D0D6DB-4B24-4E2C-A5FA-2AD6DFFBD362}" dt="2023-01-30T04:00:57.941" v="3129" actId="2696"/>
        <pc:sldMkLst>
          <pc:docMk/>
          <pc:sldMk cId="2091478311" sldId="438"/>
        </pc:sldMkLst>
      </pc:sldChg>
      <pc:sldChg chg="modSp add del mod">
        <pc:chgData name="Tường SKHĐT" userId="ab9568c39a88b08a" providerId="LiveId" clId="{D0D0D6DB-4B24-4E2C-A5FA-2AD6DFFBD362}" dt="2023-01-30T03:12:41.257" v="1807" actId="2696"/>
        <pc:sldMkLst>
          <pc:docMk/>
          <pc:sldMk cId="421919259" sldId="439"/>
        </pc:sldMkLst>
        <pc:spChg chg="mod">
          <ac:chgData name="Tường SKHĐT" userId="ab9568c39a88b08a" providerId="LiveId" clId="{D0D0D6DB-4B24-4E2C-A5FA-2AD6DFFBD362}" dt="2023-01-30T03:02:57.373" v="1184" actId="20577"/>
          <ac:spMkLst>
            <pc:docMk/>
            <pc:sldMk cId="421919259" sldId="439"/>
            <ac:spMk id="6" creationId="{8F441EC3-0BA7-4F59-8AD1-8445D9757715}"/>
          </ac:spMkLst>
        </pc:spChg>
        <pc:spChg chg="mod">
          <ac:chgData name="Tường SKHĐT" userId="ab9568c39a88b08a" providerId="LiveId" clId="{D0D0D6DB-4B24-4E2C-A5FA-2AD6DFFBD362}" dt="2023-01-30T03:03:11.314" v="1204" actId="20577"/>
          <ac:spMkLst>
            <pc:docMk/>
            <pc:sldMk cId="421919259" sldId="439"/>
            <ac:spMk id="7" creationId="{6C0C263C-8AC5-4EA9-6623-5D53F070A466}"/>
          </ac:spMkLst>
        </pc:spChg>
        <pc:spChg chg="mod">
          <ac:chgData name="Tường SKHĐT" userId="ab9568c39a88b08a" providerId="LiveId" clId="{D0D0D6DB-4B24-4E2C-A5FA-2AD6DFFBD362}" dt="2023-01-30T03:03:24.084" v="1224" actId="20577"/>
          <ac:spMkLst>
            <pc:docMk/>
            <pc:sldMk cId="421919259" sldId="439"/>
            <ac:spMk id="8" creationId="{BE3FBCC4-B1C6-7537-0DC2-C1A9645EA02C}"/>
          </ac:spMkLst>
        </pc:spChg>
        <pc:spChg chg="mod">
          <ac:chgData name="Tường SKHĐT" userId="ab9568c39a88b08a" providerId="LiveId" clId="{D0D0D6DB-4B24-4E2C-A5FA-2AD6DFFBD362}" dt="2023-01-30T03:03:34.245" v="1242" actId="20577"/>
          <ac:spMkLst>
            <pc:docMk/>
            <pc:sldMk cId="421919259" sldId="439"/>
            <ac:spMk id="9" creationId="{BF2EF6F2-669D-669D-8EC0-42EAD0DB9009}"/>
          </ac:spMkLst>
        </pc:spChg>
        <pc:spChg chg="mod">
          <ac:chgData name="Tường SKHĐT" userId="ab9568c39a88b08a" providerId="LiveId" clId="{D0D0D6DB-4B24-4E2C-A5FA-2AD6DFFBD362}" dt="2023-01-30T03:02:45.401" v="1164" actId="20577"/>
          <ac:spMkLst>
            <pc:docMk/>
            <pc:sldMk cId="421919259" sldId="439"/>
            <ac:spMk id="20" creationId="{46499BF0-4D64-5CB9-D715-F6433918CD00}"/>
          </ac:spMkLst>
        </pc:spChg>
      </pc:sldChg>
      <pc:sldChg chg="add del">
        <pc:chgData name="Tường SKHĐT" userId="ab9568c39a88b08a" providerId="LiveId" clId="{D0D0D6DB-4B24-4E2C-A5FA-2AD6DFFBD362}" dt="2023-01-30T04:01:02.652" v="3130" actId="2696"/>
        <pc:sldMkLst>
          <pc:docMk/>
          <pc:sldMk cId="3146323479" sldId="449"/>
        </pc:sldMkLst>
      </pc:sldChg>
      <pc:sldChg chg="add del">
        <pc:chgData name="Tường SKHĐT" userId="ab9568c39a88b08a" providerId="LiveId" clId="{D0D0D6DB-4B24-4E2C-A5FA-2AD6DFFBD362}" dt="2023-01-30T04:16:40.372" v="3922" actId="2696"/>
        <pc:sldMkLst>
          <pc:docMk/>
          <pc:sldMk cId="2678120978" sldId="451"/>
        </pc:sldMkLst>
      </pc:sldChg>
      <pc:sldChg chg="modSp mod">
        <pc:chgData name="Tường SKHĐT" userId="ab9568c39a88b08a" providerId="LiveId" clId="{D0D0D6DB-4B24-4E2C-A5FA-2AD6DFFBD362}" dt="2023-01-30T02:28:48.396" v="297" actId="1038"/>
        <pc:sldMkLst>
          <pc:docMk/>
          <pc:sldMk cId="1596329165" sldId="455"/>
        </pc:sldMkLst>
        <pc:spChg chg="mod">
          <ac:chgData name="Tường SKHĐT" userId="ab9568c39a88b08a" providerId="LiveId" clId="{D0D0D6DB-4B24-4E2C-A5FA-2AD6DFFBD362}" dt="2023-01-30T02:28:26.026" v="205" actId="1076"/>
          <ac:spMkLst>
            <pc:docMk/>
            <pc:sldMk cId="1596329165" sldId="455"/>
            <ac:spMk id="7" creationId="{E508593D-8C0D-4163-9A4A-7D6922F8A0DF}"/>
          </ac:spMkLst>
        </pc:spChg>
        <pc:spChg chg="mod">
          <ac:chgData name="Tường SKHĐT" userId="ab9568c39a88b08a" providerId="LiveId" clId="{D0D0D6DB-4B24-4E2C-A5FA-2AD6DFFBD362}" dt="2023-01-30T02:28:48.396" v="297" actId="1038"/>
          <ac:spMkLst>
            <pc:docMk/>
            <pc:sldMk cId="1596329165" sldId="455"/>
            <ac:spMk id="27" creationId="{87251008-0654-48EC-B85B-8EA2BB576990}"/>
          </ac:spMkLst>
        </pc:spChg>
        <pc:grpChg chg="mod">
          <ac:chgData name="Tường SKHĐT" userId="ab9568c39a88b08a" providerId="LiveId" clId="{D0D0D6DB-4B24-4E2C-A5FA-2AD6DFFBD362}" dt="2023-01-30T02:28:13.793" v="202" actId="14100"/>
          <ac:grpSpMkLst>
            <pc:docMk/>
            <pc:sldMk cId="1596329165" sldId="455"/>
            <ac:grpSpMk id="17" creationId="{6BEB7F04-DEC3-47AD-A430-C67E8368B8AA}"/>
          </ac:grpSpMkLst>
        </pc:grpChg>
        <pc:picChg chg="mod">
          <ac:chgData name="Tường SKHĐT" userId="ab9568c39a88b08a" providerId="LiveId" clId="{D0D0D6DB-4B24-4E2C-A5FA-2AD6DFFBD362}" dt="2023-01-30T02:28:38.750" v="252" actId="1038"/>
          <ac:picMkLst>
            <pc:docMk/>
            <pc:sldMk cId="1596329165" sldId="455"/>
            <ac:picMk id="23" creationId="{AFF07513-015F-41A9-A359-F024D1A336A5}"/>
          </ac:picMkLst>
        </pc:picChg>
      </pc:sldChg>
      <pc:sldChg chg="del">
        <pc:chgData name="Tường SKHĐT" userId="ab9568c39a88b08a" providerId="LiveId" clId="{D0D0D6DB-4B24-4E2C-A5FA-2AD6DFFBD362}" dt="2023-01-30T04:17:18.043" v="3927" actId="2696"/>
        <pc:sldMkLst>
          <pc:docMk/>
          <pc:sldMk cId="1874412585" sldId="456"/>
        </pc:sldMkLst>
      </pc:sldChg>
      <pc:sldChg chg="add del">
        <pc:chgData name="Tường SKHĐT" userId="ab9568c39a88b08a" providerId="LiveId" clId="{D0D0D6DB-4B24-4E2C-A5FA-2AD6DFFBD362}" dt="2023-01-30T04:21:02.429" v="4019" actId="2696"/>
        <pc:sldMkLst>
          <pc:docMk/>
          <pc:sldMk cId="388395178" sldId="457"/>
        </pc:sldMkLst>
      </pc:sldChg>
      <pc:sldChg chg="add del">
        <pc:chgData name="Tường SKHĐT" userId="ab9568c39a88b08a" providerId="LiveId" clId="{D0D0D6DB-4B24-4E2C-A5FA-2AD6DFFBD362}" dt="2023-01-30T04:01:13.237" v="3132" actId="2696"/>
        <pc:sldMkLst>
          <pc:docMk/>
          <pc:sldMk cId="993788174" sldId="458"/>
        </pc:sldMkLst>
      </pc:sldChg>
      <pc:sldChg chg="add del">
        <pc:chgData name="Tường SKHĐT" userId="ab9568c39a88b08a" providerId="LiveId" clId="{D0D0D6DB-4B24-4E2C-A5FA-2AD6DFFBD362}" dt="2023-01-30T04:20:40.859" v="4013" actId="2696"/>
        <pc:sldMkLst>
          <pc:docMk/>
          <pc:sldMk cId="2175681301" sldId="459"/>
        </pc:sldMkLst>
      </pc:sldChg>
      <pc:sldChg chg="add del">
        <pc:chgData name="Tường SKHĐT" userId="ab9568c39a88b08a" providerId="LiveId" clId="{D0D0D6DB-4B24-4E2C-A5FA-2AD6DFFBD362}" dt="2023-01-30T03:04:12.977" v="1248" actId="2696"/>
        <pc:sldMkLst>
          <pc:docMk/>
          <pc:sldMk cId="2794925625" sldId="460"/>
        </pc:sldMkLst>
      </pc:sldChg>
      <pc:sldChg chg="add del">
        <pc:chgData name="Tường SKHĐT" userId="ab9568c39a88b08a" providerId="LiveId" clId="{D0D0D6DB-4B24-4E2C-A5FA-2AD6DFFBD362}" dt="2023-01-30T04:16:45.579" v="3924" actId="2696"/>
        <pc:sldMkLst>
          <pc:docMk/>
          <pc:sldMk cId="3281693686" sldId="462"/>
        </pc:sldMkLst>
      </pc:sldChg>
      <pc:sldChg chg="add del">
        <pc:chgData name="Tường SKHĐT" userId="ab9568c39a88b08a" providerId="LiveId" clId="{D0D0D6DB-4B24-4E2C-A5FA-2AD6DFFBD362}" dt="2023-01-30T04:16:42.979" v="3923" actId="2696"/>
        <pc:sldMkLst>
          <pc:docMk/>
          <pc:sldMk cId="1049355748" sldId="463"/>
        </pc:sldMkLst>
      </pc:sldChg>
      <pc:sldChg chg="add del">
        <pc:chgData name="Tường SKHĐT" userId="ab9568c39a88b08a" providerId="LiveId" clId="{D0D0D6DB-4B24-4E2C-A5FA-2AD6DFFBD362}" dt="2023-01-30T03:03:52.014" v="1244" actId="2696"/>
        <pc:sldMkLst>
          <pc:docMk/>
          <pc:sldMk cId="3768930459" sldId="464"/>
        </pc:sldMkLst>
      </pc:sldChg>
      <pc:sldChg chg="add del">
        <pc:chgData name="Tường SKHĐT" userId="ab9568c39a88b08a" providerId="LiveId" clId="{D0D0D6DB-4B24-4E2C-A5FA-2AD6DFFBD362}" dt="2023-01-30T04:20:34.539" v="4012" actId="2696"/>
        <pc:sldMkLst>
          <pc:docMk/>
          <pc:sldMk cId="1691974300" sldId="465"/>
        </pc:sldMkLst>
      </pc:sldChg>
      <pc:sldChg chg="add del">
        <pc:chgData name="Tường SKHĐT" userId="ab9568c39a88b08a" providerId="LiveId" clId="{D0D0D6DB-4B24-4E2C-A5FA-2AD6DFFBD362}" dt="2023-01-30T03:03:59.183" v="1246" actId="2696"/>
        <pc:sldMkLst>
          <pc:docMk/>
          <pc:sldMk cId="368970905" sldId="466"/>
        </pc:sldMkLst>
      </pc:sldChg>
      <pc:sldChg chg="add del">
        <pc:chgData name="Tường SKHĐT" userId="ab9568c39a88b08a" providerId="LiveId" clId="{D0D0D6DB-4B24-4E2C-A5FA-2AD6DFFBD362}" dt="2023-01-30T03:04:03.488" v="1247" actId="2696"/>
        <pc:sldMkLst>
          <pc:docMk/>
          <pc:sldMk cId="149062980" sldId="467"/>
        </pc:sldMkLst>
      </pc:sldChg>
      <pc:sldChg chg="add del">
        <pc:chgData name="Tường SKHĐT" userId="ab9568c39a88b08a" providerId="LiveId" clId="{D0D0D6DB-4B24-4E2C-A5FA-2AD6DFFBD362}" dt="2023-01-30T03:03:54.259" v="1245" actId="2696"/>
        <pc:sldMkLst>
          <pc:docMk/>
          <pc:sldMk cId="3916396667" sldId="471"/>
        </pc:sldMkLst>
      </pc:sldChg>
      <pc:sldChg chg="add del">
        <pc:chgData name="Tường SKHĐT" userId="ab9568c39a88b08a" providerId="LiveId" clId="{D0D0D6DB-4B24-4E2C-A5FA-2AD6DFFBD362}" dt="2023-01-30T04:16:34.647" v="3920" actId="2696"/>
        <pc:sldMkLst>
          <pc:docMk/>
          <pc:sldMk cId="592900118" sldId="480"/>
        </pc:sldMkLst>
      </pc:sldChg>
      <pc:sldChg chg="modSp add mod">
        <pc:chgData name="Tường SKHĐT" userId="ab9568c39a88b08a" providerId="LiveId" clId="{D0D0D6DB-4B24-4E2C-A5FA-2AD6DFFBD362}" dt="2023-01-30T04:29:29.876" v="4556" actId="20577"/>
        <pc:sldMkLst>
          <pc:docMk/>
          <pc:sldMk cId="348917705" sldId="482"/>
        </pc:sldMkLst>
        <pc:spChg chg="mod">
          <ac:chgData name="Tường SKHĐT" userId="ab9568c39a88b08a" providerId="LiveId" clId="{D0D0D6DB-4B24-4E2C-A5FA-2AD6DFFBD362}" dt="2023-01-30T03:08:26.924" v="1293" actId="20577"/>
          <ac:spMkLst>
            <pc:docMk/>
            <pc:sldMk cId="348917705" sldId="482"/>
            <ac:spMk id="4" creationId="{00000000-0000-0000-0000-000000000000}"/>
          </ac:spMkLst>
        </pc:spChg>
        <pc:graphicFrameChg chg="mod modGraphic">
          <ac:chgData name="Tường SKHĐT" userId="ab9568c39a88b08a" providerId="LiveId" clId="{D0D0D6DB-4B24-4E2C-A5FA-2AD6DFFBD362}" dt="2023-01-30T04:29:29.876" v="4556" actId="20577"/>
          <ac:graphicFrameMkLst>
            <pc:docMk/>
            <pc:sldMk cId="348917705" sldId="482"/>
            <ac:graphicFrameMk id="7" creationId="{44FD6820-12F5-8C73-583C-7D9F46E04367}"/>
          </ac:graphicFrameMkLst>
        </pc:graphicFrameChg>
      </pc:sldChg>
      <pc:sldChg chg="modSp add mod">
        <pc:chgData name="Tường SKHĐT" userId="ab9568c39a88b08a" providerId="LiveId" clId="{D0D0D6DB-4B24-4E2C-A5FA-2AD6DFFBD362}" dt="2023-01-30T03:08:33.364" v="1303" actId="20577"/>
        <pc:sldMkLst>
          <pc:docMk/>
          <pc:sldMk cId="4051799181" sldId="483"/>
        </pc:sldMkLst>
        <pc:spChg chg="mod">
          <ac:chgData name="Tường SKHĐT" userId="ab9568c39a88b08a" providerId="LiveId" clId="{D0D0D6DB-4B24-4E2C-A5FA-2AD6DFFBD362}" dt="2023-01-30T03:08:33.364" v="1303" actId="20577"/>
          <ac:spMkLst>
            <pc:docMk/>
            <pc:sldMk cId="4051799181" sldId="483"/>
            <ac:spMk id="4" creationId="{00000000-0000-0000-0000-000000000000}"/>
          </ac:spMkLst>
        </pc:spChg>
        <pc:graphicFrameChg chg="mod modGraphic">
          <ac:chgData name="Tường SKHĐT" userId="ab9568c39a88b08a" providerId="LiveId" clId="{D0D0D6DB-4B24-4E2C-A5FA-2AD6DFFBD362}" dt="2023-01-30T03:05:45.731" v="1262" actId="14734"/>
          <ac:graphicFrameMkLst>
            <pc:docMk/>
            <pc:sldMk cId="4051799181" sldId="483"/>
            <ac:graphicFrameMk id="2" creationId="{E76DB986-E2D7-83CD-133B-774E10731A3B}"/>
          </ac:graphicFrameMkLst>
        </pc:graphicFrameChg>
      </pc:sldChg>
      <pc:sldChg chg="modSp mod">
        <pc:chgData name="Tường SKHĐT" userId="ab9568c39a88b08a" providerId="LiveId" clId="{D0D0D6DB-4B24-4E2C-A5FA-2AD6DFFBD362}" dt="2023-01-30T04:26:16.106" v="4421" actId="2711"/>
        <pc:sldMkLst>
          <pc:docMk/>
          <pc:sldMk cId="914573862" sldId="2147473474"/>
        </pc:sldMkLst>
        <pc:spChg chg="mod">
          <ac:chgData name="Tường SKHĐT" userId="ab9568c39a88b08a" providerId="LiveId" clId="{D0D0D6DB-4B24-4E2C-A5FA-2AD6DFFBD362}" dt="2023-01-30T03:06:27.066" v="1278" actId="20577"/>
          <ac:spMkLst>
            <pc:docMk/>
            <pc:sldMk cId="914573862" sldId="2147473474"/>
            <ac:spMk id="3" creationId="{D56CE58D-FB5F-1D10-4BAF-E7B0E8BB9294}"/>
          </ac:spMkLst>
        </pc:spChg>
        <pc:graphicFrameChg chg="mod">
          <ac:chgData name="Tường SKHĐT" userId="ab9568c39a88b08a" providerId="LiveId" clId="{D0D0D6DB-4B24-4E2C-A5FA-2AD6DFFBD362}" dt="2023-01-30T04:26:16.106" v="4421" actId="2711"/>
          <ac:graphicFrameMkLst>
            <pc:docMk/>
            <pc:sldMk cId="914573862" sldId="2147473474"/>
            <ac:graphicFrameMk id="2" creationId="{A091C242-D65F-E0C5-16D6-B15756DA14A6}"/>
          </ac:graphicFrameMkLst>
        </pc:graphicFrameChg>
        <pc:cxnChg chg="mod">
          <ac:chgData name="Tường SKHĐT" userId="ab9568c39a88b08a" providerId="LiveId" clId="{D0D0D6DB-4B24-4E2C-A5FA-2AD6DFFBD362}" dt="2023-01-30T03:06:30.965" v="1279" actId="14100"/>
          <ac:cxnSpMkLst>
            <pc:docMk/>
            <pc:sldMk cId="914573862" sldId="2147473474"/>
            <ac:cxnSpMk id="5" creationId="{B76B30D3-4366-089A-F34D-48B859C3B869}"/>
          </ac:cxnSpMkLst>
        </pc:cxnChg>
      </pc:sldChg>
      <pc:sldChg chg="modSp">
        <pc:chgData name="Tường SKHĐT" userId="ab9568c39a88b08a" providerId="LiveId" clId="{D0D0D6DB-4B24-4E2C-A5FA-2AD6DFFBD362}" dt="2023-01-30T04:28:19.965" v="4537" actId="20577"/>
        <pc:sldMkLst>
          <pc:docMk/>
          <pc:sldMk cId="3133831680" sldId="2147473476"/>
        </pc:sldMkLst>
        <pc:graphicFrameChg chg="mod">
          <ac:chgData name="Tường SKHĐT" userId="ab9568c39a88b08a" providerId="LiveId" clId="{D0D0D6DB-4B24-4E2C-A5FA-2AD6DFFBD362}" dt="2023-01-30T04:28:19.965" v="4537" actId="20577"/>
          <ac:graphicFrameMkLst>
            <pc:docMk/>
            <pc:sldMk cId="3133831680" sldId="2147473476"/>
            <ac:graphicFrameMk id="2" creationId="{A091C242-D65F-E0C5-16D6-B15756DA14A6}"/>
          </ac:graphicFrameMkLst>
        </pc:graphicFrameChg>
      </pc:sldChg>
      <pc:sldChg chg="del">
        <pc:chgData name="Tường SKHĐT" userId="ab9568c39a88b08a" providerId="LiveId" clId="{D0D0D6DB-4B24-4E2C-A5FA-2AD6DFFBD362}" dt="2023-01-30T04:28:23.559" v="4538" actId="2696"/>
        <pc:sldMkLst>
          <pc:docMk/>
          <pc:sldMk cId="723199981" sldId="2147473477"/>
        </pc:sldMkLst>
      </pc:sldChg>
      <pc:sldChg chg="del">
        <pc:chgData name="Tường SKHĐT" userId="ab9568c39a88b08a" providerId="LiveId" clId="{D0D0D6DB-4B24-4E2C-A5FA-2AD6DFFBD362}" dt="2023-01-30T02:29:41.819" v="303" actId="2696"/>
        <pc:sldMkLst>
          <pc:docMk/>
          <pc:sldMk cId="2479977582" sldId="2147473493"/>
        </pc:sldMkLst>
      </pc:sldChg>
      <pc:sldChg chg="del">
        <pc:chgData name="Tường SKHĐT" userId="ab9568c39a88b08a" providerId="LiveId" clId="{D0D0D6DB-4B24-4E2C-A5FA-2AD6DFFBD362}" dt="2023-01-30T03:06:41.171" v="1281" actId="2696"/>
        <pc:sldMkLst>
          <pc:docMk/>
          <pc:sldMk cId="611726690" sldId="2147473494"/>
        </pc:sldMkLst>
      </pc:sldChg>
      <pc:sldChg chg="del">
        <pc:chgData name="Tường SKHĐT" userId="ab9568c39a88b08a" providerId="LiveId" clId="{D0D0D6DB-4B24-4E2C-A5FA-2AD6DFFBD362}" dt="2023-01-30T03:06:38.363" v="1280" actId="2696"/>
        <pc:sldMkLst>
          <pc:docMk/>
          <pc:sldMk cId="2920978512" sldId="2147473495"/>
        </pc:sldMkLst>
      </pc:sldChg>
      <pc:sldChg chg="addSp delSp modSp add del mod">
        <pc:chgData name="Tường SKHĐT" userId="ab9568c39a88b08a" providerId="LiveId" clId="{D0D0D6DB-4B24-4E2C-A5FA-2AD6DFFBD362}" dt="2023-01-30T04:17:18.043" v="3927" actId="2696"/>
        <pc:sldMkLst>
          <pc:docMk/>
          <pc:sldMk cId="517205925" sldId="2147473498"/>
        </pc:sldMkLst>
        <pc:graphicFrameChg chg="mod modGraphic">
          <ac:chgData name="Tường SKHĐT" userId="ab9568c39a88b08a" providerId="LiveId" clId="{D0D0D6DB-4B24-4E2C-A5FA-2AD6DFFBD362}" dt="2023-01-30T03:20:39.902" v="2074" actId="1076"/>
          <ac:graphicFrameMkLst>
            <pc:docMk/>
            <pc:sldMk cId="517205925" sldId="2147473498"/>
            <ac:graphicFrameMk id="15" creationId="{D67C70DE-72A0-BA49-E858-4C1EF7F2BF05}"/>
          </ac:graphicFrameMkLst>
        </pc:graphicFrameChg>
        <pc:graphicFrameChg chg="del">
          <ac:chgData name="Tường SKHĐT" userId="ab9568c39a88b08a" providerId="LiveId" clId="{D0D0D6DB-4B24-4E2C-A5FA-2AD6DFFBD362}" dt="2023-01-30T03:20:30.952" v="2071" actId="21"/>
          <ac:graphicFrameMkLst>
            <pc:docMk/>
            <pc:sldMk cId="517205925" sldId="2147473498"/>
            <ac:graphicFrameMk id="23" creationId="{715EE2B2-7873-A2CD-C784-98BDDA638E25}"/>
          </ac:graphicFrameMkLst>
        </pc:graphicFrameChg>
        <pc:picChg chg="add del mod">
          <ac:chgData name="Tường SKHĐT" userId="ab9568c39a88b08a" providerId="LiveId" clId="{D0D0D6DB-4B24-4E2C-A5FA-2AD6DFFBD362}" dt="2023-01-30T03:18:43.641" v="1910" actId="21"/>
          <ac:picMkLst>
            <pc:docMk/>
            <pc:sldMk cId="517205925" sldId="2147473498"/>
            <ac:picMk id="2" creationId="{A07B4889-E6A0-8193-FD79-3E07068F49B2}"/>
          </ac:picMkLst>
        </pc:picChg>
        <pc:picChg chg="add mod">
          <ac:chgData name="Tường SKHĐT" userId="ab9568c39a88b08a" providerId="LiveId" clId="{D0D0D6DB-4B24-4E2C-A5FA-2AD6DFFBD362}" dt="2023-01-30T03:20:33.711" v="2072" actId="1076"/>
          <ac:picMkLst>
            <pc:docMk/>
            <pc:sldMk cId="517205925" sldId="2147473498"/>
            <ac:picMk id="5" creationId="{5DBBE98A-EE15-AE36-1046-6258333079A2}"/>
          </ac:picMkLst>
        </pc:picChg>
        <pc:picChg chg="add mod">
          <ac:chgData name="Tường SKHĐT" userId="ab9568c39a88b08a" providerId="LiveId" clId="{D0D0D6DB-4B24-4E2C-A5FA-2AD6DFFBD362}" dt="2023-01-30T03:20:27.827" v="2070" actId="14100"/>
          <ac:picMkLst>
            <pc:docMk/>
            <pc:sldMk cId="517205925" sldId="2147473498"/>
            <ac:picMk id="9" creationId="{F98B4008-DD0B-FC9A-4B9B-EC0A6F0BC1E8}"/>
          </ac:picMkLst>
        </pc:picChg>
        <pc:picChg chg="del">
          <ac:chgData name="Tường SKHĐT" userId="ab9568c39a88b08a" providerId="LiveId" clId="{D0D0D6DB-4B24-4E2C-A5FA-2AD6DFFBD362}" dt="2023-01-30T03:18:41.157" v="1908" actId="21"/>
          <ac:picMkLst>
            <pc:docMk/>
            <pc:sldMk cId="517205925" sldId="2147473498"/>
            <ac:picMk id="11" creationId="{44A260C8-8CCB-B466-DFE0-5642F3CFBB3D}"/>
          </ac:picMkLst>
        </pc:picChg>
        <pc:picChg chg="del">
          <ac:chgData name="Tường SKHĐT" userId="ab9568c39a88b08a" providerId="LiveId" clId="{D0D0D6DB-4B24-4E2C-A5FA-2AD6DFFBD362}" dt="2023-01-30T03:19:06.171" v="1920" actId="21"/>
          <ac:picMkLst>
            <pc:docMk/>
            <pc:sldMk cId="517205925" sldId="2147473498"/>
            <ac:picMk id="14" creationId="{5D9AD6B5-31AB-4018-969C-355D9EC34C4B}"/>
          </ac:picMkLst>
        </pc:picChg>
        <pc:picChg chg="del">
          <ac:chgData name="Tường SKHĐT" userId="ab9568c39a88b08a" providerId="LiveId" clId="{D0D0D6DB-4B24-4E2C-A5FA-2AD6DFFBD362}" dt="2023-01-30T03:19:03.696" v="1919" actId="21"/>
          <ac:picMkLst>
            <pc:docMk/>
            <pc:sldMk cId="517205925" sldId="2147473498"/>
            <ac:picMk id="22" creationId="{EB9A7B31-08FA-4095-824F-A695148A1774}"/>
          </ac:picMkLst>
        </pc:picChg>
      </pc:sldChg>
      <pc:sldChg chg="modSp del mod">
        <pc:chgData name="Tường SKHĐT" userId="ab9568c39a88b08a" providerId="LiveId" clId="{D0D0D6DB-4B24-4E2C-A5FA-2AD6DFFBD362}" dt="2023-01-30T04:17:18.043" v="3927" actId="2696"/>
        <pc:sldMkLst>
          <pc:docMk/>
          <pc:sldMk cId="4071845434" sldId="2147473499"/>
        </pc:sldMkLst>
        <pc:spChg chg="mod">
          <ac:chgData name="Tường SKHĐT" userId="ab9568c39a88b08a" providerId="LiveId" clId="{D0D0D6DB-4B24-4E2C-A5FA-2AD6DFFBD362}" dt="2023-01-30T02:30:25.434" v="314" actId="20577"/>
          <ac:spMkLst>
            <pc:docMk/>
            <pc:sldMk cId="4071845434" sldId="2147473499"/>
            <ac:spMk id="4" creationId="{16D24723-A233-03FF-2329-1817AB93339D}"/>
          </ac:spMkLst>
        </pc:spChg>
      </pc:sldChg>
      <pc:sldChg chg="del">
        <pc:chgData name="Tường SKHĐT" userId="ab9568c39a88b08a" providerId="LiveId" clId="{D0D0D6DB-4B24-4E2C-A5FA-2AD6DFFBD362}" dt="2023-01-30T04:17:18.043" v="3927" actId="2696"/>
        <pc:sldMkLst>
          <pc:docMk/>
          <pc:sldMk cId="3215727463" sldId="2147473500"/>
        </pc:sldMkLst>
      </pc:sldChg>
      <pc:sldChg chg="del">
        <pc:chgData name="Tường SKHĐT" userId="ab9568c39a88b08a" providerId="LiveId" clId="{D0D0D6DB-4B24-4E2C-A5FA-2AD6DFFBD362}" dt="2023-01-30T04:17:18.043" v="3927" actId="2696"/>
        <pc:sldMkLst>
          <pc:docMk/>
          <pc:sldMk cId="1680809982" sldId="2147473501"/>
        </pc:sldMkLst>
      </pc:sldChg>
      <pc:sldChg chg="del">
        <pc:chgData name="Tường SKHĐT" userId="ab9568c39a88b08a" providerId="LiveId" clId="{D0D0D6DB-4B24-4E2C-A5FA-2AD6DFFBD362}" dt="2023-01-30T03:06:45.568" v="1282" actId="2696"/>
        <pc:sldMkLst>
          <pc:docMk/>
          <pc:sldMk cId="1302223711" sldId="2147473504"/>
        </pc:sldMkLst>
      </pc:sldChg>
      <pc:sldChg chg="del">
        <pc:chgData name="Tường SKHĐT" userId="ab9568c39a88b08a" providerId="LiveId" clId="{D0D0D6DB-4B24-4E2C-A5FA-2AD6DFFBD362}" dt="2023-01-30T04:17:18.043" v="3927" actId="2696"/>
        <pc:sldMkLst>
          <pc:docMk/>
          <pc:sldMk cId="1098375856" sldId="2147473511"/>
        </pc:sldMkLst>
      </pc:sldChg>
      <pc:sldChg chg="del">
        <pc:chgData name="Tường SKHĐT" userId="ab9568c39a88b08a" providerId="LiveId" clId="{D0D0D6DB-4B24-4E2C-A5FA-2AD6DFFBD362}" dt="2023-01-30T04:17:18.043" v="3927" actId="2696"/>
        <pc:sldMkLst>
          <pc:docMk/>
          <pc:sldMk cId="3883905374" sldId="2147473512"/>
        </pc:sldMkLst>
      </pc:sldChg>
      <pc:sldChg chg="del">
        <pc:chgData name="Tường SKHĐT" userId="ab9568c39a88b08a" providerId="LiveId" clId="{D0D0D6DB-4B24-4E2C-A5FA-2AD6DFFBD362}" dt="2023-01-30T02:30:37.836" v="316" actId="2696"/>
        <pc:sldMkLst>
          <pc:docMk/>
          <pc:sldMk cId="3554211324" sldId="2147473513"/>
        </pc:sldMkLst>
      </pc:sldChg>
      <pc:sldChg chg="modSp add mod">
        <pc:chgData name="Tường SKHĐT" userId="ab9568c39a88b08a" providerId="LiveId" clId="{D0D0D6DB-4B24-4E2C-A5FA-2AD6DFFBD362}" dt="2023-01-30T03:08:37.252" v="1313" actId="20577"/>
        <pc:sldMkLst>
          <pc:docMk/>
          <pc:sldMk cId="4092993056" sldId="2147473513"/>
        </pc:sldMkLst>
        <pc:spChg chg="mod">
          <ac:chgData name="Tường SKHĐT" userId="ab9568c39a88b08a" providerId="LiveId" clId="{D0D0D6DB-4B24-4E2C-A5FA-2AD6DFFBD362}" dt="2023-01-30T03:08:37.252" v="1313" actId="20577"/>
          <ac:spMkLst>
            <pc:docMk/>
            <pc:sldMk cId="4092993056" sldId="2147473513"/>
            <ac:spMk id="4" creationId="{00000000-0000-0000-0000-000000000000}"/>
          </ac:spMkLst>
        </pc:spChg>
        <pc:graphicFrameChg chg="mod modGraphic">
          <ac:chgData name="Tường SKHĐT" userId="ab9568c39a88b08a" providerId="LiveId" clId="{D0D0D6DB-4B24-4E2C-A5FA-2AD6DFFBD362}" dt="2023-01-30T03:06:02.717" v="1263" actId="255"/>
          <ac:graphicFrameMkLst>
            <pc:docMk/>
            <pc:sldMk cId="4092993056" sldId="2147473513"/>
            <ac:graphicFrameMk id="7" creationId="{44FD6820-12F5-8C73-583C-7D9F46E04367}"/>
          </ac:graphicFrameMkLst>
        </pc:graphicFrameChg>
      </pc:sldChg>
      <pc:sldChg chg="add del">
        <pc:chgData name="Tường SKHĐT" userId="ab9568c39a88b08a" providerId="LiveId" clId="{D0D0D6DB-4B24-4E2C-A5FA-2AD6DFFBD362}" dt="2023-01-30T04:17:07.513" v="3926" actId="2696"/>
        <pc:sldMkLst>
          <pc:docMk/>
          <pc:sldMk cId="1799571690" sldId="2147473514"/>
        </pc:sldMkLst>
      </pc:sldChg>
      <pc:sldChg chg="modSp add del mod">
        <pc:chgData name="Tường SKHĐT" userId="ab9568c39a88b08a" providerId="LiveId" clId="{D0D0D6DB-4B24-4E2C-A5FA-2AD6DFFBD362}" dt="2023-01-30T04:00:49.649" v="3128" actId="2696"/>
        <pc:sldMkLst>
          <pc:docMk/>
          <pc:sldMk cId="2835373866" sldId="2147473515"/>
        </pc:sldMkLst>
        <pc:spChg chg="mod">
          <ac:chgData name="Tường SKHĐT" userId="ab9568c39a88b08a" providerId="LiveId" clId="{D0D0D6DB-4B24-4E2C-A5FA-2AD6DFFBD362}" dt="2023-01-30T03:08:53.829" v="1351" actId="20577"/>
          <ac:spMkLst>
            <pc:docMk/>
            <pc:sldMk cId="2835373866" sldId="2147473515"/>
            <ac:spMk id="4" creationId="{16D24723-A233-03FF-2329-1817AB93339D}"/>
          </ac:spMkLst>
        </pc:spChg>
        <pc:spChg chg="mod">
          <ac:chgData name="Tường SKHĐT" userId="ab9568c39a88b08a" providerId="LiveId" clId="{D0D0D6DB-4B24-4E2C-A5FA-2AD6DFFBD362}" dt="2023-01-30T03:09:28.004" v="1417" actId="20577"/>
          <ac:spMkLst>
            <pc:docMk/>
            <pc:sldMk cId="2835373866" sldId="2147473515"/>
            <ac:spMk id="25" creationId="{01DC26C3-E6F4-C27A-8624-3A65D81B6008}"/>
          </ac:spMkLst>
        </pc:spChg>
        <pc:cxnChg chg="mod">
          <ac:chgData name="Tường SKHĐT" userId="ab9568c39a88b08a" providerId="LiveId" clId="{D0D0D6DB-4B24-4E2C-A5FA-2AD6DFFBD362}" dt="2023-01-30T03:08:57.616" v="1352" actId="14100"/>
          <ac:cxnSpMkLst>
            <pc:docMk/>
            <pc:sldMk cId="2835373866" sldId="2147473515"/>
            <ac:cxnSpMk id="6" creationId="{FF705920-E1B4-B4D0-9EA4-A27AA5761577}"/>
          </ac:cxnSpMkLst>
        </pc:cxnChg>
      </pc:sldChg>
      <pc:sldChg chg="delSp modSp add mod">
        <pc:chgData name="Tường SKHĐT" userId="ab9568c39a88b08a" providerId="LiveId" clId="{D0D0D6DB-4B24-4E2C-A5FA-2AD6DFFBD362}" dt="2023-01-30T03:49:36.545" v="2969" actId="1076"/>
        <pc:sldMkLst>
          <pc:docMk/>
          <pc:sldMk cId="1563031195" sldId="2147473516"/>
        </pc:sldMkLst>
        <pc:graphicFrameChg chg="mod modGraphic">
          <ac:chgData name="Tường SKHĐT" userId="ab9568c39a88b08a" providerId="LiveId" clId="{D0D0D6DB-4B24-4E2C-A5FA-2AD6DFFBD362}" dt="2023-01-30T03:49:36.545" v="2969" actId="1076"/>
          <ac:graphicFrameMkLst>
            <pc:docMk/>
            <pc:sldMk cId="1563031195" sldId="2147473516"/>
            <ac:graphicFrameMk id="8" creationId="{B5E5335D-2EED-82AF-3A59-FAE8BB94EAE1}"/>
          </ac:graphicFrameMkLst>
        </pc:graphicFrameChg>
        <pc:picChg chg="del">
          <ac:chgData name="Tường SKHĐT" userId="ab9568c39a88b08a" providerId="LiveId" clId="{D0D0D6DB-4B24-4E2C-A5FA-2AD6DFFBD362}" dt="2023-01-30T03:29:22.833" v="2326" actId="21"/>
          <ac:picMkLst>
            <pc:docMk/>
            <pc:sldMk cId="1563031195" sldId="2147473516"/>
            <ac:picMk id="2" creationId="{16605C4E-9FA9-B071-6168-61C2FDC3C012}"/>
          </ac:picMkLst>
        </pc:picChg>
        <pc:picChg chg="del">
          <ac:chgData name="Tường SKHĐT" userId="ab9568c39a88b08a" providerId="LiveId" clId="{D0D0D6DB-4B24-4E2C-A5FA-2AD6DFFBD362}" dt="2023-01-30T03:29:21.812" v="2325" actId="21"/>
          <ac:picMkLst>
            <pc:docMk/>
            <pc:sldMk cId="1563031195" sldId="2147473516"/>
            <ac:picMk id="3" creationId="{466D175B-E7A0-403E-714B-5AE0F14AB881}"/>
          </ac:picMkLst>
        </pc:picChg>
        <pc:picChg chg="del">
          <ac:chgData name="Tường SKHĐT" userId="ab9568c39a88b08a" providerId="LiveId" clId="{D0D0D6DB-4B24-4E2C-A5FA-2AD6DFFBD362}" dt="2023-01-30T03:29:24.486" v="2327" actId="21"/>
          <ac:picMkLst>
            <pc:docMk/>
            <pc:sldMk cId="1563031195" sldId="2147473516"/>
            <ac:picMk id="5" creationId="{BADDDCB0-F3BF-156C-D4C6-544937214C09}"/>
          </ac:picMkLst>
        </pc:picChg>
        <pc:picChg chg="del">
          <ac:chgData name="Tường SKHĐT" userId="ab9568c39a88b08a" providerId="LiveId" clId="{D0D0D6DB-4B24-4E2C-A5FA-2AD6DFFBD362}" dt="2023-01-30T03:29:26.135" v="2328" actId="21"/>
          <ac:picMkLst>
            <pc:docMk/>
            <pc:sldMk cId="1563031195" sldId="2147473516"/>
            <ac:picMk id="7" creationId="{90352AD0-E7ED-8AA7-C958-890418DD7953}"/>
          </ac:picMkLst>
        </pc:picChg>
      </pc:sldChg>
      <pc:sldChg chg="modSp add del mod">
        <pc:chgData name="Tường SKHĐT" userId="ab9568c39a88b08a" providerId="LiveId" clId="{D0D0D6DB-4B24-4E2C-A5FA-2AD6DFFBD362}" dt="2023-01-30T03:50:18.538" v="3038" actId="2696"/>
        <pc:sldMkLst>
          <pc:docMk/>
          <pc:sldMk cId="3396911251" sldId="2147473517"/>
        </pc:sldMkLst>
        <pc:spChg chg="mod">
          <ac:chgData name="Tường SKHĐT" userId="ab9568c39a88b08a" providerId="LiveId" clId="{D0D0D6DB-4B24-4E2C-A5FA-2AD6DFFBD362}" dt="2023-01-30T03:10:03.936" v="1489" actId="20577"/>
          <ac:spMkLst>
            <pc:docMk/>
            <pc:sldMk cId="3396911251" sldId="2147473517"/>
            <ac:spMk id="25" creationId="{01DC26C3-E6F4-C27A-8624-3A65D81B6008}"/>
          </ac:spMkLst>
        </pc:spChg>
      </pc:sldChg>
      <pc:sldChg chg="delSp modSp add mod">
        <pc:chgData name="Tường SKHĐT" userId="ab9568c39a88b08a" providerId="LiveId" clId="{D0D0D6DB-4B24-4E2C-A5FA-2AD6DFFBD362}" dt="2023-01-30T04:12:33.574" v="3647" actId="1035"/>
        <pc:sldMkLst>
          <pc:docMk/>
          <pc:sldMk cId="3024842976" sldId="2147473518"/>
        </pc:sldMkLst>
        <pc:spChg chg="mod">
          <ac:chgData name="Tường SKHĐT" userId="ab9568c39a88b08a" providerId="LiveId" clId="{D0D0D6DB-4B24-4E2C-A5FA-2AD6DFFBD362}" dt="2023-01-30T03:10:41.613" v="1611" actId="20577"/>
          <ac:spMkLst>
            <pc:docMk/>
            <pc:sldMk cId="3024842976" sldId="2147473518"/>
            <ac:spMk id="25" creationId="{01DC26C3-E6F4-C27A-8624-3A65D81B6008}"/>
          </ac:spMkLst>
        </pc:spChg>
        <pc:graphicFrameChg chg="mod modGraphic">
          <ac:chgData name="Tường SKHĐT" userId="ab9568c39a88b08a" providerId="LiveId" clId="{D0D0D6DB-4B24-4E2C-A5FA-2AD6DFFBD362}" dt="2023-01-30T04:12:33.574" v="3647" actId="1035"/>
          <ac:graphicFrameMkLst>
            <pc:docMk/>
            <pc:sldMk cId="3024842976" sldId="2147473518"/>
            <ac:graphicFrameMk id="8" creationId="{B5E5335D-2EED-82AF-3A59-FAE8BB94EAE1}"/>
          </ac:graphicFrameMkLst>
        </pc:graphicFrameChg>
        <pc:picChg chg="del">
          <ac:chgData name="Tường SKHĐT" userId="ab9568c39a88b08a" providerId="LiveId" clId="{D0D0D6DB-4B24-4E2C-A5FA-2AD6DFFBD362}" dt="2023-01-30T03:55:02.356" v="3103" actId="21"/>
          <ac:picMkLst>
            <pc:docMk/>
            <pc:sldMk cId="3024842976" sldId="2147473518"/>
            <ac:picMk id="2" creationId="{16605C4E-9FA9-B071-6168-61C2FDC3C012}"/>
          </ac:picMkLst>
        </pc:picChg>
        <pc:picChg chg="del">
          <ac:chgData name="Tường SKHĐT" userId="ab9568c39a88b08a" providerId="LiveId" clId="{D0D0D6DB-4B24-4E2C-A5FA-2AD6DFFBD362}" dt="2023-01-30T03:55:00.800" v="3102" actId="21"/>
          <ac:picMkLst>
            <pc:docMk/>
            <pc:sldMk cId="3024842976" sldId="2147473518"/>
            <ac:picMk id="3" creationId="{466D175B-E7A0-403E-714B-5AE0F14AB881}"/>
          </ac:picMkLst>
        </pc:picChg>
        <pc:picChg chg="del">
          <ac:chgData name="Tường SKHĐT" userId="ab9568c39a88b08a" providerId="LiveId" clId="{D0D0D6DB-4B24-4E2C-A5FA-2AD6DFFBD362}" dt="2023-01-30T03:55:03.707" v="3104" actId="21"/>
          <ac:picMkLst>
            <pc:docMk/>
            <pc:sldMk cId="3024842976" sldId="2147473518"/>
            <ac:picMk id="5" creationId="{BADDDCB0-F3BF-156C-D4C6-544937214C09}"/>
          </ac:picMkLst>
        </pc:picChg>
        <pc:picChg chg="del">
          <ac:chgData name="Tường SKHĐT" userId="ab9568c39a88b08a" providerId="LiveId" clId="{D0D0D6DB-4B24-4E2C-A5FA-2AD6DFFBD362}" dt="2023-01-30T03:55:05.239" v="3105" actId="21"/>
          <ac:picMkLst>
            <pc:docMk/>
            <pc:sldMk cId="3024842976" sldId="2147473518"/>
            <ac:picMk id="7" creationId="{90352AD0-E7ED-8AA7-C958-890418DD7953}"/>
          </ac:picMkLst>
        </pc:picChg>
      </pc:sldChg>
      <pc:sldChg chg="delSp modSp add mod">
        <pc:chgData name="Tường SKHĐT" userId="ab9568c39a88b08a" providerId="LiveId" clId="{D0D0D6DB-4B24-4E2C-A5FA-2AD6DFFBD362}" dt="2023-01-30T04:16:22.748" v="3919" actId="20577"/>
        <pc:sldMkLst>
          <pc:docMk/>
          <pc:sldMk cId="2957479116" sldId="2147473519"/>
        </pc:sldMkLst>
        <pc:spChg chg="mod">
          <ac:chgData name="Tường SKHĐT" userId="ab9568c39a88b08a" providerId="LiveId" clId="{D0D0D6DB-4B24-4E2C-A5FA-2AD6DFFBD362}" dt="2023-01-30T03:10:59.260" v="1679" actId="6549"/>
          <ac:spMkLst>
            <pc:docMk/>
            <pc:sldMk cId="2957479116" sldId="2147473519"/>
            <ac:spMk id="25" creationId="{01DC26C3-E6F4-C27A-8624-3A65D81B6008}"/>
          </ac:spMkLst>
        </pc:spChg>
        <pc:graphicFrameChg chg="mod modGraphic">
          <ac:chgData name="Tường SKHĐT" userId="ab9568c39a88b08a" providerId="LiveId" clId="{D0D0D6DB-4B24-4E2C-A5FA-2AD6DFFBD362}" dt="2023-01-30T04:16:22.748" v="3919" actId="20577"/>
          <ac:graphicFrameMkLst>
            <pc:docMk/>
            <pc:sldMk cId="2957479116" sldId="2147473519"/>
            <ac:graphicFrameMk id="8" creationId="{B5E5335D-2EED-82AF-3A59-FAE8BB94EAE1}"/>
          </ac:graphicFrameMkLst>
        </pc:graphicFrameChg>
        <pc:picChg chg="del">
          <ac:chgData name="Tường SKHĐT" userId="ab9568c39a88b08a" providerId="LiveId" clId="{D0D0D6DB-4B24-4E2C-A5FA-2AD6DFFBD362}" dt="2023-01-30T04:00:03.346" v="3108" actId="21"/>
          <ac:picMkLst>
            <pc:docMk/>
            <pc:sldMk cId="2957479116" sldId="2147473519"/>
            <ac:picMk id="2" creationId="{16605C4E-9FA9-B071-6168-61C2FDC3C012}"/>
          </ac:picMkLst>
        </pc:picChg>
        <pc:picChg chg="del">
          <ac:chgData name="Tường SKHĐT" userId="ab9568c39a88b08a" providerId="LiveId" clId="{D0D0D6DB-4B24-4E2C-A5FA-2AD6DFFBD362}" dt="2023-01-30T04:00:02.056" v="3107" actId="21"/>
          <ac:picMkLst>
            <pc:docMk/>
            <pc:sldMk cId="2957479116" sldId="2147473519"/>
            <ac:picMk id="3" creationId="{466D175B-E7A0-403E-714B-5AE0F14AB881}"/>
          </ac:picMkLst>
        </pc:picChg>
        <pc:picChg chg="del">
          <ac:chgData name="Tường SKHĐT" userId="ab9568c39a88b08a" providerId="LiveId" clId="{D0D0D6DB-4B24-4E2C-A5FA-2AD6DFFBD362}" dt="2023-01-30T04:00:05.478" v="3109" actId="21"/>
          <ac:picMkLst>
            <pc:docMk/>
            <pc:sldMk cId="2957479116" sldId="2147473519"/>
            <ac:picMk id="5" creationId="{BADDDCB0-F3BF-156C-D4C6-544937214C09}"/>
          </ac:picMkLst>
        </pc:picChg>
        <pc:picChg chg="del">
          <ac:chgData name="Tường SKHĐT" userId="ab9568c39a88b08a" providerId="LiveId" clId="{D0D0D6DB-4B24-4E2C-A5FA-2AD6DFFBD362}" dt="2023-01-30T04:00:06.996" v="3110" actId="21"/>
          <ac:picMkLst>
            <pc:docMk/>
            <pc:sldMk cId="2957479116" sldId="2147473519"/>
            <ac:picMk id="7" creationId="{90352AD0-E7ED-8AA7-C958-890418DD7953}"/>
          </ac:picMkLst>
        </pc:picChg>
      </pc:sldChg>
      <pc:sldChg chg="delSp modSp add mod">
        <pc:chgData name="Tường SKHĐT" userId="ab9568c39a88b08a" providerId="LiveId" clId="{D0D0D6DB-4B24-4E2C-A5FA-2AD6DFFBD362}" dt="2023-01-30T04:04:00.990" v="3224" actId="20577"/>
        <pc:sldMkLst>
          <pc:docMk/>
          <pc:sldMk cId="848398433" sldId="2147473520"/>
        </pc:sldMkLst>
        <pc:spChg chg="mod">
          <ac:chgData name="Tường SKHĐT" userId="ab9568c39a88b08a" providerId="LiveId" clId="{D0D0D6DB-4B24-4E2C-A5FA-2AD6DFFBD362}" dt="2023-01-30T04:03:19.734" v="3210" actId="20577"/>
          <ac:spMkLst>
            <pc:docMk/>
            <pc:sldMk cId="848398433" sldId="2147473520"/>
            <ac:spMk id="25" creationId="{01DC26C3-E6F4-C27A-8624-3A65D81B6008}"/>
          </ac:spMkLst>
        </pc:spChg>
        <pc:graphicFrameChg chg="mod modGraphic">
          <ac:chgData name="Tường SKHĐT" userId="ab9568c39a88b08a" providerId="LiveId" clId="{D0D0D6DB-4B24-4E2C-A5FA-2AD6DFFBD362}" dt="2023-01-30T04:04:00.990" v="3224" actId="20577"/>
          <ac:graphicFrameMkLst>
            <pc:docMk/>
            <pc:sldMk cId="848398433" sldId="2147473520"/>
            <ac:graphicFrameMk id="8" creationId="{B5E5335D-2EED-82AF-3A59-FAE8BB94EAE1}"/>
          </ac:graphicFrameMkLst>
        </pc:graphicFrameChg>
        <pc:picChg chg="del">
          <ac:chgData name="Tường SKHĐT" userId="ab9568c39a88b08a" providerId="LiveId" clId="{D0D0D6DB-4B24-4E2C-A5FA-2AD6DFFBD362}" dt="2023-01-30T04:00:13.511" v="3113" actId="21"/>
          <ac:picMkLst>
            <pc:docMk/>
            <pc:sldMk cId="848398433" sldId="2147473520"/>
            <ac:picMk id="2" creationId="{16605C4E-9FA9-B071-6168-61C2FDC3C012}"/>
          </ac:picMkLst>
        </pc:picChg>
        <pc:picChg chg="del">
          <ac:chgData name="Tường SKHĐT" userId="ab9568c39a88b08a" providerId="LiveId" clId="{D0D0D6DB-4B24-4E2C-A5FA-2AD6DFFBD362}" dt="2023-01-30T04:00:12.468" v="3112" actId="21"/>
          <ac:picMkLst>
            <pc:docMk/>
            <pc:sldMk cId="848398433" sldId="2147473520"/>
            <ac:picMk id="3" creationId="{466D175B-E7A0-403E-714B-5AE0F14AB881}"/>
          </ac:picMkLst>
        </pc:picChg>
        <pc:picChg chg="del">
          <ac:chgData name="Tường SKHĐT" userId="ab9568c39a88b08a" providerId="LiveId" clId="{D0D0D6DB-4B24-4E2C-A5FA-2AD6DFFBD362}" dt="2023-01-30T04:00:15.199" v="3114" actId="21"/>
          <ac:picMkLst>
            <pc:docMk/>
            <pc:sldMk cId="848398433" sldId="2147473520"/>
            <ac:picMk id="5" creationId="{BADDDCB0-F3BF-156C-D4C6-544937214C09}"/>
          </ac:picMkLst>
        </pc:picChg>
        <pc:picChg chg="del">
          <ac:chgData name="Tường SKHĐT" userId="ab9568c39a88b08a" providerId="LiveId" clId="{D0D0D6DB-4B24-4E2C-A5FA-2AD6DFFBD362}" dt="2023-01-30T04:00:16.866" v="3115" actId="21"/>
          <ac:picMkLst>
            <pc:docMk/>
            <pc:sldMk cId="848398433" sldId="2147473520"/>
            <ac:picMk id="7" creationId="{90352AD0-E7ED-8AA7-C958-890418DD7953}"/>
          </ac:picMkLst>
        </pc:picChg>
      </pc:sldChg>
      <pc:sldChg chg="delSp modSp add mod">
        <pc:chgData name="Tường SKHĐT" userId="ab9568c39a88b08a" providerId="LiveId" clId="{D0D0D6DB-4B24-4E2C-A5FA-2AD6DFFBD362}" dt="2023-01-30T04:20:22.244" v="4009" actId="404"/>
        <pc:sldMkLst>
          <pc:docMk/>
          <pc:sldMk cId="2307671257" sldId="2147473521"/>
        </pc:sldMkLst>
        <pc:spChg chg="mod">
          <ac:chgData name="Tường SKHĐT" userId="ab9568c39a88b08a" providerId="LiveId" clId="{D0D0D6DB-4B24-4E2C-A5FA-2AD6DFFBD362}" dt="2023-01-30T03:11:37.652" v="1759" actId="20577"/>
          <ac:spMkLst>
            <pc:docMk/>
            <pc:sldMk cId="2307671257" sldId="2147473521"/>
            <ac:spMk id="25" creationId="{01DC26C3-E6F4-C27A-8624-3A65D81B6008}"/>
          </ac:spMkLst>
        </pc:spChg>
        <pc:graphicFrameChg chg="mod modGraphic">
          <ac:chgData name="Tường SKHĐT" userId="ab9568c39a88b08a" providerId="LiveId" clId="{D0D0D6DB-4B24-4E2C-A5FA-2AD6DFFBD362}" dt="2023-01-30T04:20:22.244" v="4009" actId="404"/>
          <ac:graphicFrameMkLst>
            <pc:docMk/>
            <pc:sldMk cId="2307671257" sldId="2147473521"/>
            <ac:graphicFrameMk id="8" creationId="{B5E5335D-2EED-82AF-3A59-FAE8BB94EAE1}"/>
          </ac:graphicFrameMkLst>
        </pc:graphicFrameChg>
        <pc:picChg chg="del">
          <ac:chgData name="Tường SKHĐT" userId="ab9568c39a88b08a" providerId="LiveId" clId="{D0D0D6DB-4B24-4E2C-A5FA-2AD6DFFBD362}" dt="2023-01-30T04:00:24.468" v="3118" actId="21"/>
          <ac:picMkLst>
            <pc:docMk/>
            <pc:sldMk cId="2307671257" sldId="2147473521"/>
            <ac:picMk id="2" creationId="{16605C4E-9FA9-B071-6168-61C2FDC3C012}"/>
          </ac:picMkLst>
        </pc:picChg>
        <pc:picChg chg="del">
          <ac:chgData name="Tường SKHĐT" userId="ab9568c39a88b08a" providerId="LiveId" clId="{D0D0D6DB-4B24-4E2C-A5FA-2AD6DFFBD362}" dt="2023-01-30T04:00:23.550" v="3117" actId="21"/>
          <ac:picMkLst>
            <pc:docMk/>
            <pc:sldMk cId="2307671257" sldId="2147473521"/>
            <ac:picMk id="3" creationId="{466D175B-E7A0-403E-714B-5AE0F14AB881}"/>
          </ac:picMkLst>
        </pc:picChg>
        <pc:picChg chg="del">
          <ac:chgData name="Tường SKHĐT" userId="ab9568c39a88b08a" providerId="LiveId" clId="{D0D0D6DB-4B24-4E2C-A5FA-2AD6DFFBD362}" dt="2023-01-30T04:00:26.535" v="3119" actId="21"/>
          <ac:picMkLst>
            <pc:docMk/>
            <pc:sldMk cId="2307671257" sldId="2147473521"/>
            <ac:picMk id="5" creationId="{BADDDCB0-F3BF-156C-D4C6-544937214C09}"/>
          </ac:picMkLst>
        </pc:picChg>
        <pc:picChg chg="del">
          <ac:chgData name="Tường SKHĐT" userId="ab9568c39a88b08a" providerId="LiveId" clId="{D0D0D6DB-4B24-4E2C-A5FA-2AD6DFFBD362}" dt="2023-01-30T04:00:28.038" v="3120" actId="21"/>
          <ac:picMkLst>
            <pc:docMk/>
            <pc:sldMk cId="2307671257" sldId="2147473521"/>
            <ac:picMk id="7" creationId="{90352AD0-E7ED-8AA7-C958-890418DD7953}"/>
          </ac:picMkLst>
        </pc:picChg>
      </pc:sldChg>
      <pc:sldChg chg="addSp delSp modSp add mod">
        <pc:chgData name="Tường SKHĐT" userId="ab9568c39a88b08a" providerId="LiveId" clId="{D0D0D6DB-4B24-4E2C-A5FA-2AD6DFFBD362}" dt="2023-01-30T04:23:48.048" v="4370" actId="20577"/>
        <pc:sldMkLst>
          <pc:docMk/>
          <pc:sldMk cId="2802465441" sldId="2147473522"/>
        </pc:sldMkLst>
        <pc:spChg chg="mod">
          <ac:chgData name="Tường SKHĐT" userId="ab9568c39a88b08a" providerId="LiveId" clId="{D0D0D6DB-4B24-4E2C-A5FA-2AD6DFFBD362}" dt="2023-01-30T03:11:52.930" v="1801" actId="6549"/>
          <ac:spMkLst>
            <pc:docMk/>
            <pc:sldMk cId="2802465441" sldId="2147473522"/>
            <ac:spMk id="25" creationId="{01DC26C3-E6F4-C27A-8624-3A65D81B6008}"/>
          </ac:spMkLst>
        </pc:spChg>
        <pc:graphicFrameChg chg="del modGraphic">
          <ac:chgData name="Tường SKHĐT" userId="ab9568c39a88b08a" providerId="LiveId" clId="{D0D0D6DB-4B24-4E2C-A5FA-2AD6DFFBD362}" dt="2023-01-30T04:20:49.580" v="4014" actId="21"/>
          <ac:graphicFrameMkLst>
            <pc:docMk/>
            <pc:sldMk cId="2802465441" sldId="2147473522"/>
            <ac:graphicFrameMk id="8" creationId="{B5E5335D-2EED-82AF-3A59-FAE8BB94EAE1}"/>
          </ac:graphicFrameMkLst>
        </pc:graphicFrameChg>
        <pc:graphicFrameChg chg="add mod modGraphic">
          <ac:chgData name="Tường SKHĐT" userId="ab9568c39a88b08a" providerId="LiveId" clId="{D0D0D6DB-4B24-4E2C-A5FA-2AD6DFFBD362}" dt="2023-01-30T04:23:48.048" v="4370" actId="20577"/>
          <ac:graphicFrameMkLst>
            <pc:docMk/>
            <pc:sldMk cId="2802465441" sldId="2147473522"/>
            <ac:graphicFrameMk id="9" creationId="{0FC7DBA8-03B5-1D5D-B7A1-68AA6F62DF7E}"/>
          </ac:graphicFrameMkLst>
        </pc:graphicFrameChg>
        <pc:picChg chg="del">
          <ac:chgData name="Tường SKHĐT" userId="ab9568c39a88b08a" providerId="LiveId" clId="{D0D0D6DB-4B24-4E2C-A5FA-2AD6DFFBD362}" dt="2023-01-30T04:00:37.833" v="3124" actId="21"/>
          <ac:picMkLst>
            <pc:docMk/>
            <pc:sldMk cId="2802465441" sldId="2147473522"/>
            <ac:picMk id="2" creationId="{16605C4E-9FA9-B071-6168-61C2FDC3C012}"/>
          </ac:picMkLst>
        </pc:picChg>
        <pc:picChg chg="del">
          <ac:chgData name="Tường SKHĐT" userId="ab9568c39a88b08a" providerId="LiveId" clId="{D0D0D6DB-4B24-4E2C-A5FA-2AD6DFFBD362}" dt="2023-01-30T04:00:36.692" v="3123" actId="21"/>
          <ac:picMkLst>
            <pc:docMk/>
            <pc:sldMk cId="2802465441" sldId="2147473522"/>
            <ac:picMk id="3" creationId="{466D175B-E7A0-403E-714B-5AE0F14AB881}"/>
          </ac:picMkLst>
        </pc:picChg>
        <pc:picChg chg="del">
          <ac:chgData name="Tường SKHĐT" userId="ab9568c39a88b08a" providerId="LiveId" clId="{D0D0D6DB-4B24-4E2C-A5FA-2AD6DFFBD362}" dt="2023-01-30T04:00:39.394" v="3125" actId="21"/>
          <ac:picMkLst>
            <pc:docMk/>
            <pc:sldMk cId="2802465441" sldId="2147473522"/>
            <ac:picMk id="5" creationId="{BADDDCB0-F3BF-156C-D4C6-544937214C09}"/>
          </ac:picMkLst>
        </pc:picChg>
        <pc:picChg chg="del">
          <ac:chgData name="Tường SKHĐT" userId="ab9568c39a88b08a" providerId="LiveId" clId="{D0D0D6DB-4B24-4E2C-A5FA-2AD6DFFBD362}" dt="2023-01-30T04:00:40.760" v="3126" actId="21"/>
          <ac:picMkLst>
            <pc:docMk/>
            <pc:sldMk cId="2802465441" sldId="2147473522"/>
            <ac:picMk id="7" creationId="{90352AD0-E7ED-8AA7-C958-890418DD7953}"/>
          </ac:picMkLst>
        </pc:picChg>
      </pc:sldChg>
      <pc:sldChg chg="delSp add mod">
        <pc:chgData name="Tường SKHĐT" userId="ab9568c39a88b08a" providerId="LiveId" clId="{D0D0D6DB-4B24-4E2C-A5FA-2AD6DFFBD362}" dt="2023-01-30T03:12:13.529" v="1804" actId="478"/>
        <pc:sldMkLst>
          <pc:docMk/>
          <pc:sldMk cId="2107077082" sldId="2147473523"/>
        </pc:sldMkLst>
        <pc:cxnChg chg="del">
          <ac:chgData name="Tường SKHĐT" userId="ab9568c39a88b08a" providerId="LiveId" clId="{D0D0D6DB-4B24-4E2C-A5FA-2AD6DFFBD362}" dt="2023-01-30T03:12:13.529" v="1804" actId="478"/>
          <ac:cxnSpMkLst>
            <pc:docMk/>
            <pc:sldMk cId="2107077082" sldId="2147473523"/>
            <ac:cxnSpMk id="13" creationId="{00000000-0000-0000-0000-000000000000}"/>
          </ac:cxnSpMkLst>
        </pc:cxnChg>
        <pc:cxnChg chg="del">
          <ac:chgData name="Tường SKHĐT" userId="ab9568c39a88b08a" providerId="LiveId" clId="{D0D0D6DB-4B24-4E2C-A5FA-2AD6DFFBD362}" dt="2023-01-30T03:12:12.846" v="1803" actId="478"/>
          <ac:cxnSpMkLst>
            <pc:docMk/>
            <pc:sldMk cId="2107077082" sldId="2147473523"/>
            <ac:cxnSpMk id="14" creationId="{00000000-0000-0000-0000-000000000000}"/>
          </ac:cxnSpMkLst>
        </pc:cxnChg>
      </pc:sldChg>
      <pc:sldChg chg="add">
        <pc:chgData name="Tường SKHĐT" userId="ab9568c39a88b08a" providerId="LiveId" clId="{D0D0D6DB-4B24-4E2C-A5FA-2AD6DFFBD362}" dt="2023-01-30T03:12:30.187" v="1806"/>
        <pc:sldMkLst>
          <pc:docMk/>
          <pc:sldMk cId="1822639037" sldId="2147473524"/>
        </pc:sldMkLst>
      </pc:sldChg>
      <pc:sldChg chg="addSp modSp add mod">
        <pc:chgData name="Tường SKHĐT" userId="ab9568c39a88b08a" providerId="LiveId" clId="{D0D0D6DB-4B24-4E2C-A5FA-2AD6DFFBD362}" dt="2023-01-30T03:16:00.630" v="1905" actId="20577"/>
        <pc:sldMkLst>
          <pc:docMk/>
          <pc:sldMk cId="2447285934" sldId="2147473525"/>
        </pc:sldMkLst>
        <pc:spChg chg="add mod">
          <ac:chgData name="Tường SKHĐT" userId="ab9568c39a88b08a" providerId="LiveId" clId="{D0D0D6DB-4B24-4E2C-A5FA-2AD6DFFBD362}" dt="2023-01-30T03:14:47.490" v="1868" actId="1076"/>
          <ac:spMkLst>
            <pc:docMk/>
            <pc:sldMk cId="2447285934" sldId="2147473525"/>
            <ac:spMk id="2" creationId="{5CA64A82-F21B-62CF-B485-0F935AE7046A}"/>
          </ac:spMkLst>
        </pc:spChg>
        <pc:spChg chg="mod">
          <ac:chgData name="Tường SKHĐT" userId="ab9568c39a88b08a" providerId="LiveId" clId="{D0D0D6DB-4B24-4E2C-A5FA-2AD6DFFBD362}" dt="2023-01-30T03:15:48.970" v="1896" actId="688"/>
          <ac:spMkLst>
            <pc:docMk/>
            <pc:sldMk cId="2447285934" sldId="2147473525"/>
            <ac:spMk id="25" creationId="{76FC2223-CBDC-4B1C-A8C6-0DBB61B65684}"/>
          </ac:spMkLst>
        </pc:spChg>
        <pc:spChg chg="mod">
          <ac:chgData name="Tường SKHĐT" userId="ab9568c39a88b08a" providerId="LiveId" clId="{D0D0D6DB-4B24-4E2C-A5FA-2AD6DFFBD362}" dt="2023-01-30T03:16:00.630" v="1905" actId="20577"/>
          <ac:spMkLst>
            <pc:docMk/>
            <pc:sldMk cId="2447285934" sldId="2147473525"/>
            <ac:spMk id="50" creationId="{00000000-0000-0000-0000-000000000000}"/>
          </ac:spMkLst>
        </pc:spChg>
        <pc:spChg chg="mod">
          <ac:chgData name="Tường SKHĐT" userId="ab9568c39a88b08a" providerId="LiveId" clId="{D0D0D6DB-4B24-4E2C-A5FA-2AD6DFFBD362}" dt="2023-01-30T03:15:22.094" v="1880" actId="20577"/>
          <ac:spMkLst>
            <pc:docMk/>
            <pc:sldMk cId="2447285934" sldId="2147473525"/>
            <ac:spMk id="65" creationId="{00000000-0000-0000-0000-000000000000}"/>
          </ac:spMkLst>
        </pc:spChg>
        <pc:spChg chg="mod">
          <ac:chgData name="Tường SKHĐT" userId="ab9568c39a88b08a" providerId="LiveId" clId="{D0D0D6DB-4B24-4E2C-A5FA-2AD6DFFBD362}" dt="2023-01-30T03:13:58.797" v="1849" actId="688"/>
          <ac:spMkLst>
            <pc:docMk/>
            <pc:sldMk cId="2447285934" sldId="2147473525"/>
            <ac:spMk id="66" creationId="{76FC2223-CBDC-4B1C-A8C6-0DBB61B65684}"/>
          </ac:spMkLst>
        </pc:spChg>
        <pc:spChg chg="mod">
          <ac:chgData name="Tường SKHĐT" userId="ab9568c39a88b08a" providerId="LiveId" clId="{D0D0D6DB-4B24-4E2C-A5FA-2AD6DFFBD362}" dt="2023-01-30T03:14:59.750" v="1874" actId="20577"/>
          <ac:spMkLst>
            <pc:docMk/>
            <pc:sldMk cId="2447285934" sldId="2147473525"/>
            <ac:spMk id="67" creationId="{00000000-0000-0000-0000-000000000000}"/>
          </ac:spMkLst>
        </pc:spChg>
      </pc:sldChg>
      <pc:sldChg chg="delSp modSp add mod">
        <pc:chgData name="Tường SKHĐT" userId="ab9568c39a88b08a" providerId="LiveId" clId="{D0D0D6DB-4B24-4E2C-A5FA-2AD6DFFBD362}" dt="2023-01-30T04:07:20.988" v="3336" actId="1076"/>
        <pc:sldMkLst>
          <pc:docMk/>
          <pc:sldMk cId="2589014937" sldId="2147473526"/>
        </pc:sldMkLst>
        <pc:spChg chg="mod">
          <ac:chgData name="Tường SKHĐT" userId="ab9568c39a88b08a" providerId="LiveId" clId="{D0D0D6DB-4B24-4E2C-A5FA-2AD6DFFBD362}" dt="2023-01-30T04:07:15.522" v="3335" actId="1038"/>
          <ac:spMkLst>
            <pc:docMk/>
            <pc:sldMk cId="2589014937" sldId="2147473526"/>
            <ac:spMk id="2" creationId="{80607D77-8D89-B2B8-17A1-5EC409702721}"/>
          </ac:spMkLst>
        </pc:spChg>
        <pc:spChg chg="mod">
          <ac:chgData name="Tường SKHĐT" userId="ab9568c39a88b08a" providerId="LiveId" clId="{D0D0D6DB-4B24-4E2C-A5FA-2AD6DFFBD362}" dt="2023-01-30T04:07:20.988" v="3336" actId="1076"/>
          <ac:spMkLst>
            <pc:docMk/>
            <pc:sldMk cId="2589014937" sldId="2147473526"/>
            <ac:spMk id="3" creationId="{A0D5D58A-756E-802D-A09E-1BEA6D184E77}"/>
          </ac:spMkLst>
        </pc:spChg>
        <pc:spChg chg="mod">
          <ac:chgData name="Tường SKHĐT" userId="ab9568c39a88b08a" providerId="LiveId" clId="{D0D0D6DB-4B24-4E2C-A5FA-2AD6DFFBD362}" dt="2023-01-30T04:07:15.522" v="3335" actId="1038"/>
          <ac:spMkLst>
            <pc:docMk/>
            <pc:sldMk cId="2589014937" sldId="2147473526"/>
            <ac:spMk id="12" creationId="{850931EF-4279-23FD-6428-18C12049025E}"/>
          </ac:spMkLst>
        </pc:spChg>
        <pc:spChg chg="mod">
          <ac:chgData name="Tường SKHĐT" userId="ab9568c39a88b08a" providerId="LiveId" clId="{D0D0D6DB-4B24-4E2C-A5FA-2AD6DFFBD362}" dt="2023-01-30T04:07:15.522" v="3335" actId="1038"/>
          <ac:spMkLst>
            <pc:docMk/>
            <pc:sldMk cId="2589014937" sldId="2147473526"/>
            <ac:spMk id="13" creationId="{CFB1DF66-0E98-FC84-B508-AAB8AC25D4B3}"/>
          </ac:spMkLst>
        </pc:spChg>
        <pc:spChg chg="mod">
          <ac:chgData name="Tường SKHĐT" userId="ab9568c39a88b08a" providerId="LiveId" clId="{D0D0D6DB-4B24-4E2C-A5FA-2AD6DFFBD362}" dt="2023-01-30T04:07:15.522" v="3335" actId="1038"/>
          <ac:spMkLst>
            <pc:docMk/>
            <pc:sldMk cId="2589014937" sldId="2147473526"/>
            <ac:spMk id="14" creationId="{2FB61F8A-9A24-43C5-EEAD-699E1478B087}"/>
          </ac:spMkLst>
        </pc:spChg>
        <pc:spChg chg="mod">
          <ac:chgData name="Tường SKHĐT" userId="ab9568c39a88b08a" providerId="LiveId" clId="{D0D0D6DB-4B24-4E2C-A5FA-2AD6DFFBD362}" dt="2023-01-30T04:07:15.522" v="3335" actId="1038"/>
          <ac:spMkLst>
            <pc:docMk/>
            <pc:sldMk cId="2589014937" sldId="2147473526"/>
            <ac:spMk id="15" creationId="{741F0E28-9B46-DEE8-72B4-31C74A048999}"/>
          </ac:spMkLst>
        </pc:spChg>
        <pc:spChg chg="mod">
          <ac:chgData name="Tường SKHĐT" userId="ab9568c39a88b08a" providerId="LiveId" clId="{D0D0D6DB-4B24-4E2C-A5FA-2AD6DFFBD362}" dt="2023-01-30T04:07:15.522" v="3335" actId="1038"/>
          <ac:spMkLst>
            <pc:docMk/>
            <pc:sldMk cId="2589014937" sldId="2147473526"/>
            <ac:spMk id="16" creationId="{CD1FFBD1-4EFA-ED54-8F81-E3C9559069D4}"/>
          </ac:spMkLst>
        </pc:spChg>
        <pc:spChg chg="del">
          <ac:chgData name="Tường SKHĐT" userId="ab9568c39a88b08a" providerId="LiveId" clId="{D0D0D6DB-4B24-4E2C-A5FA-2AD6DFFBD362}" dt="2023-01-30T04:07:05.305" v="3306" actId="478"/>
          <ac:spMkLst>
            <pc:docMk/>
            <pc:sldMk cId="2589014937" sldId="2147473526"/>
            <ac:spMk id="18" creationId="{58306AA8-5254-DFC1-0F61-6C817BB6A0E9}"/>
          </ac:spMkLst>
        </pc:spChg>
        <pc:spChg chg="mod">
          <ac:chgData name="Tường SKHĐT" userId="ab9568c39a88b08a" providerId="LiveId" clId="{D0D0D6DB-4B24-4E2C-A5FA-2AD6DFFBD362}" dt="2023-01-30T04:07:15.522" v="3335" actId="1038"/>
          <ac:spMkLst>
            <pc:docMk/>
            <pc:sldMk cId="2589014937" sldId="2147473526"/>
            <ac:spMk id="19" creationId="{122A9A1C-AFFE-3821-B2D0-B1BF037AF2EA}"/>
          </ac:spMkLst>
        </pc:spChg>
        <pc:spChg chg="mod">
          <ac:chgData name="Tường SKHĐT" userId="ab9568c39a88b08a" providerId="LiveId" clId="{D0D0D6DB-4B24-4E2C-A5FA-2AD6DFFBD362}" dt="2023-01-30T04:07:15.522" v="3335" actId="1038"/>
          <ac:spMkLst>
            <pc:docMk/>
            <pc:sldMk cId="2589014937" sldId="2147473526"/>
            <ac:spMk id="20" creationId="{9EFE970E-0B98-B556-3A4B-E26C7CAD10CA}"/>
          </ac:spMkLst>
        </pc:spChg>
        <pc:spChg chg="del">
          <ac:chgData name="Tường SKHĐT" userId="ab9568c39a88b08a" providerId="LiveId" clId="{D0D0D6DB-4B24-4E2C-A5FA-2AD6DFFBD362}" dt="2023-01-30T04:07:07.596" v="3307" actId="21"/>
          <ac:spMkLst>
            <pc:docMk/>
            <pc:sldMk cId="2589014937" sldId="2147473526"/>
            <ac:spMk id="21" creationId="{DB86A138-8FAA-DC9A-E4E5-D0201E9F33BD}"/>
          </ac:spMkLst>
        </pc:spChg>
        <pc:spChg chg="del">
          <ac:chgData name="Tường SKHĐT" userId="ab9568c39a88b08a" providerId="LiveId" clId="{D0D0D6DB-4B24-4E2C-A5FA-2AD6DFFBD362}" dt="2023-01-30T04:07:05.305" v="3306" actId="478"/>
          <ac:spMkLst>
            <pc:docMk/>
            <pc:sldMk cId="2589014937" sldId="2147473526"/>
            <ac:spMk id="23" creationId="{2C410BCD-44ED-2F04-13B7-1F1D0344027A}"/>
          </ac:spMkLst>
        </pc:spChg>
        <pc:spChg chg="mod">
          <ac:chgData name="Tường SKHĐT" userId="ab9568c39a88b08a" providerId="LiveId" clId="{D0D0D6DB-4B24-4E2C-A5FA-2AD6DFFBD362}" dt="2023-01-30T04:07:15.522" v="3335" actId="1038"/>
          <ac:spMkLst>
            <pc:docMk/>
            <pc:sldMk cId="2589014937" sldId="2147473526"/>
            <ac:spMk id="27" creationId="{A7706305-8775-399E-5BBA-BC4870FA15F6}"/>
          </ac:spMkLst>
        </pc:spChg>
        <pc:spChg chg="del">
          <ac:chgData name="Tường SKHĐT" userId="ab9568c39a88b08a" providerId="LiveId" clId="{D0D0D6DB-4B24-4E2C-A5FA-2AD6DFFBD362}" dt="2023-01-30T04:07:05.305" v="3306" actId="478"/>
          <ac:spMkLst>
            <pc:docMk/>
            <pc:sldMk cId="2589014937" sldId="2147473526"/>
            <ac:spMk id="28" creationId="{8946C639-9DC6-5196-2AA2-DB262D9D7956}"/>
          </ac:spMkLst>
        </pc:spChg>
        <pc:spChg chg="del">
          <ac:chgData name="Tường SKHĐT" userId="ab9568c39a88b08a" providerId="LiveId" clId="{D0D0D6DB-4B24-4E2C-A5FA-2AD6DFFBD362}" dt="2023-01-30T04:07:05.305" v="3306" actId="478"/>
          <ac:spMkLst>
            <pc:docMk/>
            <pc:sldMk cId="2589014937" sldId="2147473526"/>
            <ac:spMk id="29" creationId="{A9E1B5E8-BCD1-65B2-847C-B9EDD3690824}"/>
          </ac:spMkLst>
        </pc:spChg>
        <pc:spChg chg="del">
          <ac:chgData name="Tường SKHĐT" userId="ab9568c39a88b08a" providerId="LiveId" clId="{D0D0D6DB-4B24-4E2C-A5FA-2AD6DFFBD362}" dt="2023-01-30T04:07:05.305" v="3306" actId="478"/>
          <ac:spMkLst>
            <pc:docMk/>
            <pc:sldMk cId="2589014937" sldId="2147473526"/>
            <ac:spMk id="30" creationId="{8404DD39-B4ED-5DE5-6633-E77A35E3B5D9}"/>
          </ac:spMkLst>
        </pc:spChg>
        <pc:spChg chg="mod">
          <ac:chgData name="Tường SKHĐT" userId="ab9568c39a88b08a" providerId="LiveId" clId="{D0D0D6DB-4B24-4E2C-A5FA-2AD6DFFBD362}" dt="2023-01-30T04:07:15.522" v="3335" actId="1038"/>
          <ac:spMkLst>
            <pc:docMk/>
            <pc:sldMk cId="2589014937" sldId="2147473526"/>
            <ac:spMk id="718"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19"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0"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4"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5"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26" creationId="{00000000-0000-0000-0000-000000000000}"/>
          </ac:spMkLst>
        </pc:spChg>
        <pc:spChg chg="mod">
          <ac:chgData name="Tường SKHĐT" userId="ab9568c39a88b08a" providerId="LiveId" clId="{D0D0D6DB-4B24-4E2C-A5FA-2AD6DFFBD362}" dt="2023-01-30T04:07:15.522" v="3335" actId="1038"/>
          <ac:spMkLst>
            <pc:docMk/>
            <pc:sldMk cId="2589014937" sldId="2147473526"/>
            <ac:spMk id="730" creationId="{76FC2223-CBDC-4B1C-A8C6-0DBB61B65684}"/>
          </ac:spMkLst>
        </pc:spChg>
        <pc:picChg chg="mod">
          <ac:chgData name="Tường SKHĐT" userId="ab9568c39a88b08a" providerId="LiveId" clId="{D0D0D6DB-4B24-4E2C-A5FA-2AD6DFFBD362}" dt="2023-01-30T04:07:15.522" v="3335" actId="1038"/>
          <ac:picMkLst>
            <pc:docMk/>
            <pc:sldMk cId="2589014937" sldId="2147473526"/>
            <ac:picMk id="4" creationId="{E24D9673-F5A5-66B1-2863-903204BC6ED7}"/>
          </ac:picMkLst>
        </pc:picChg>
        <pc:cxnChg chg="mod">
          <ac:chgData name="Tường SKHĐT" userId="ab9568c39a88b08a" providerId="LiveId" clId="{D0D0D6DB-4B24-4E2C-A5FA-2AD6DFFBD362}" dt="2023-01-30T04:07:15.522" v="3335" actId="1038"/>
          <ac:cxnSpMkLst>
            <pc:docMk/>
            <pc:sldMk cId="2589014937" sldId="2147473526"/>
            <ac:cxnSpMk id="22" creationId="{76FB1604-8EE6-1B4A-8BEC-955916948809}"/>
          </ac:cxnSpMkLst>
        </pc:cxnChg>
        <pc:cxnChg chg="mod">
          <ac:chgData name="Tường SKHĐT" userId="ab9568c39a88b08a" providerId="LiveId" clId="{D0D0D6DB-4B24-4E2C-A5FA-2AD6DFFBD362}" dt="2023-01-30T04:07:15.522" v="3335" actId="1038"/>
          <ac:cxnSpMkLst>
            <pc:docMk/>
            <pc:sldMk cId="2589014937" sldId="2147473526"/>
            <ac:cxnSpMk id="24" creationId="{4E2C09AD-1B29-015F-4185-E01171AA1855}"/>
          </ac:cxnSpMkLst>
        </pc:cxnChg>
        <pc:cxnChg chg="mod">
          <ac:chgData name="Tường SKHĐT" userId="ab9568c39a88b08a" providerId="LiveId" clId="{D0D0D6DB-4B24-4E2C-A5FA-2AD6DFFBD362}" dt="2023-01-30T04:07:15.522" v="3335" actId="1038"/>
          <ac:cxnSpMkLst>
            <pc:docMk/>
            <pc:sldMk cId="2589014937" sldId="2147473526"/>
            <ac:cxnSpMk id="26" creationId="{169C6F43-6D5B-95B4-AB42-3B41CFB5B6B7}"/>
          </ac:cxnSpMkLst>
        </pc:cxnChg>
        <pc:cxnChg chg="del">
          <ac:chgData name="Tường SKHĐT" userId="ab9568c39a88b08a" providerId="LiveId" clId="{D0D0D6DB-4B24-4E2C-A5FA-2AD6DFFBD362}" dt="2023-01-30T04:06:58.165" v="3302" actId="21"/>
          <ac:cxnSpMkLst>
            <pc:docMk/>
            <pc:sldMk cId="2589014937" sldId="2147473526"/>
            <ac:cxnSpMk id="704" creationId="{B2E73FDC-80CC-045D-9CBB-ED2B8B320386}"/>
          </ac:cxnSpMkLst>
        </pc:cxnChg>
        <pc:cxnChg chg="del">
          <ac:chgData name="Tường SKHĐT" userId="ab9568c39a88b08a" providerId="LiveId" clId="{D0D0D6DB-4B24-4E2C-A5FA-2AD6DFFBD362}" dt="2023-01-30T04:07:00.233" v="3303" actId="21"/>
          <ac:cxnSpMkLst>
            <pc:docMk/>
            <pc:sldMk cId="2589014937" sldId="2147473526"/>
            <ac:cxnSpMk id="706" creationId="{3E874B3D-560B-A7F1-5D1A-CC4CFD0FF8E7}"/>
          </ac:cxnSpMkLst>
        </pc:cxnChg>
      </pc:sldChg>
      <pc:sldChg chg="addSp delSp modSp add mod">
        <pc:chgData name="Tường SKHĐT" userId="ab9568c39a88b08a" providerId="LiveId" clId="{D0D0D6DB-4B24-4E2C-A5FA-2AD6DFFBD362}" dt="2023-01-30T03:24:56.306" v="2324" actId="122"/>
        <pc:sldMkLst>
          <pc:docMk/>
          <pc:sldMk cId="94820056" sldId="2147473527"/>
        </pc:sldMkLst>
        <pc:spChg chg="mod">
          <ac:chgData name="Tường SKHĐT" userId="ab9568c39a88b08a" providerId="LiveId" clId="{D0D0D6DB-4B24-4E2C-A5FA-2AD6DFFBD362}" dt="2023-01-30T03:21:09.102" v="2107" actId="20577"/>
          <ac:spMkLst>
            <pc:docMk/>
            <pc:sldMk cId="94820056" sldId="2147473527"/>
            <ac:spMk id="4" creationId="{16D24723-A233-03FF-2329-1817AB93339D}"/>
          </ac:spMkLst>
        </pc:spChg>
        <pc:spChg chg="del">
          <ac:chgData name="Tường SKHĐT" userId="ab9568c39a88b08a" providerId="LiveId" clId="{D0D0D6DB-4B24-4E2C-A5FA-2AD6DFFBD362}" dt="2023-01-30T03:21:19.281" v="2109" actId="21"/>
          <ac:spMkLst>
            <pc:docMk/>
            <pc:sldMk cId="94820056" sldId="2147473527"/>
            <ac:spMk id="25" creationId="{01DC26C3-E6F4-C27A-8624-3A65D81B6008}"/>
          </ac:spMkLst>
        </pc:spChg>
        <pc:graphicFrameChg chg="mod modGraphic">
          <ac:chgData name="Tường SKHĐT" userId="ab9568c39a88b08a" providerId="LiveId" clId="{D0D0D6DB-4B24-4E2C-A5FA-2AD6DFFBD362}" dt="2023-01-30T03:24:56.306" v="2324" actId="122"/>
          <ac:graphicFrameMkLst>
            <pc:docMk/>
            <pc:sldMk cId="94820056" sldId="2147473527"/>
            <ac:graphicFrameMk id="16" creationId="{96106477-7139-C645-519F-D1F6E546C671}"/>
          </ac:graphicFrameMkLst>
        </pc:graphicFrameChg>
        <pc:graphicFrameChg chg="mod">
          <ac:chgData name="Tường SKHĐT" userId="ab9568c39a88b08a" providerId="LiveId" clId="{D0D0D6DB-4B24-4E2C-A5FA-2AD6DFFBD362}" dt="2023-01-30T03:21:26.932" v="2145" actId="1035"/>
          <ac:graphicFrameMkLst>
            <pc:docMk/>
            <pc:sldMk cId="94820056" sldId="2147473527"/>
            <ac:graphicFrameMk id="17" creationId="{6ACB9F06-6816-8FE7-4017-BFE988A0D72D}"/>
          </ac:graphicFrameMkLst>
        </pc:graphicFrameChg>
        <pc:picChg chg="mod">
          <ac:chgData name="Tường SKHĐT" userId="ab9568c39a88b08a" providerId="LiveId" clId="{D0D0D6DB-4B24-4E2C-A5FA-2AD6DFFBD362}" dt="2023-01-30T03:21:32.013" v="2154" actId="1035"/>
          <ac:picMkLst>
            <pc:docMk/>
            <pc:sldMk cId="94820056" sldId="2147473527"/>
            <ac:picMk id="5" creationId="{5DBBE98A-EE15-AE36-1046-6258333079A2}"/>
          </ac:picMkLst>
        </pc:picChg>
        <pc:picChg chg="mod">
          <ac:chgData name="Tường SKHĐT" userId="ab9568c39a88b08a" providerId="LiveId" clId="{D0D0D6DB-4B24-4E2C-A5FA-2AD6DFFBD362}" dt="2023-01-30T03:21:23.067" v="2129" actId="1035"/>
          <ac:picMkLst>
            <pc:docMk/>
            <pc:sldMk cId="94820056" sldId="2147473527"/>
            <ac:picMk id="7" creationId="{9CB97605-37F2-6C63-31D2-6858CA2546B6}"/>
          </ac:picMkLst>
        </pc:picChg>
        <pc:picChg chg="add mod">
          <ac:chgData name="Tường SKHĐT" userId="ab9568c39a88b08a" providerId="LiveId" clId="{D0D0D6DB-4B24-4E2C-A5FA-2AD6DFFBD362}" dt="2023-01-30T03:22:42.439" v="2164" actId="1076"/>
          <ac:picMkLst>
            <pc:docMk/>
            <pc:sldMk cId="94820056" sldId="2147473527"/>
            <ac:picMk id="8" creationId="{990C0A75-F310-FDC6-52FF-48B30F97CF8B}"/>
          </ac:picMkLst>
        </pc:picChg>
        <pc:picChg chg="mod">
          <ac:chgData name="Tường SKHĐT" userId="ab9568c39a88b08a" providerId="LiveId" clId="{D0D0D6DB-4B24-4E2C-A5FA-2AD6DFFBD362}" dt="2023-01-30T03:21:31.117" v="2151" actId="1035"/>
          <ac:picMkLst>
            <pc:docMk/>
            <pc:sldMk cId="94820056" sldId="2147473527"/>
            <ac:picMk id="9" creationId="{F98B4008-DD0B-FC9A-4B9B-EC0A6F0BC1E8}"/>
          </ac:picMkLst>
        </pc:picChg>
        <pc:cxnChg chg="mod">
          <ac:chgData name="Tường SKHĐT" userId="ab9568c39a88b08a" providerId="LiveId" clId="{D0D0D6DB-4B24-4E2C-A5FA-2AD6DFFBD362}" dt="2023-01-30T03:21:13.736" v="2108" actId="14100"/>
          <ac:cxnSpMkLst>
            <pc:docMk/>
            <pc:sldMk cId="94820056" sldId="2147473527"/>
            <ac:cxnSpMk id="6" creationId="{FF705920-E1B4-B4D0-9EA4-A27AA5761577}"/>
          </ac:cxnSpMkLst>
        </pc:cxnChg>
      </pc:sldChg>
      <pc:sldChg chg="modSp add mod">
        <pc:chgData name="Tường SKHĐT" userId="ab9568c39a88b08a" providerId="LiveId" clId="{D0D0D6DB-4B24-4E2C-A5FA-2AD6DFFBD362}" dt="2023-01-30T03:54:51.255" v="3101" actId="403"/>
        <pc:sldMkLst>
          <pc:docMk/>
          <pc:sldMk cId="269414345" sldId="2147473528"/>
        </pc:sldMkLst>
        <pc:spChg chg="mod">
          <ac:chgData name="Tường SKHĐT" userId="ab9568c39a88b08a" providerId="LiveId" clId="{D0D0D6DB-4B24-4E2C-A5FA-2AD6DFFBD362}" dt="2023-01-30T03:54:44.876" v="3100" actId="20577"/>
          <ac:spMkLst>
            <pc:docMk/>
            <pc:sldMk cId="269414345" sldId="2147473528"/>
            <ac:spMk id="25" creationId="{01DC26C3-E6F4-C27A-8624-3A65D81B6008}"/>
          </ac:spMkLst>
        </pc:spChg>
        <pc:graphicFrameChg chg="mod modGraphic">
          <ac:chgData name="Tường SKHĐT" userId="ab9568c39a88b08a" providerId="LiveId" clId="{D0D0D6DB-4B24-4E2C-A5FA-2AD6DFFBD362}" dt="2023-01-30T03:54:51.255" v="3101" actId="403"/>
          <ac:graphicFrameMkLst>
            <pc:docMk/>
            <pc:sldMk cId="269414345" sldId="2147473528"/>
            <ac:graphicFrameMk id="8" creationId="{B5E5335D-2EED-82AF-3A59-FAE8BB94EAE1}"/>
          </ac:graphicFrameMkLst>
        </pc:graphicFrameChg>
      </pc:sldChg>
      <pc:sldChg chg="add del">
        <pc:chgData name="Tường SKHĐT" userId="ab9568c39a88b08a" providerId="LiveId" clId="{D0D0D6DB-4B24-4E2C-A5FA-2AD6DFFBD362}" dt="2023-01-30T03:49:44.040" v="2970" actId="2696"/>
        <pc:sldMkLst>
          <pc:docMk/>
          <pc:sldMk cId="769350960" sldId="2147473528"/>
        </pc:sldMkLst>
      </pc:sldChg>
      <pc:sldChg chg="add del">
        <pc:chgData name="Tường SKHĐT" userId="ab9568c39a88b08a" providerId="LiveId" clId="{D0D0D6DB-4B24-4E2C-A5FA-2AD6DFFBD362}" dt="2023-01-30T04:20:27.473" v="4010" actId="2696"/>
        <pc:sldMkLst>
          <pc:docMk/>
          <pc:sldMk cId="3351541688" sldId="2147473529"/>
        </pc:sldMkLst>
      </pc:sldChg>
      <pc:sldChg chg="add del">
        <pc:chgData name="Tường SKHĐT" userId="ab9568c39a88b08a" providerId="LiveId" clId="{D0D0D6DB-4B24-4E2C-A5FA-2AD6DFFBD362}" dt="2023-01-30T04:20:30.989" v="4011" actId="2696"/>
        <pc:sldMkLst>
          <pc:docMk/>
          <pc:sldMk cId="235465983" sldId="2147473530"/>
        </pc:sldMkLst>
      </pc:sldChg>
      <pc:sldMasterChg chg="delSldLayout">
        <pc:chgData name="Tường SKHĐT" userId="ab9568c39a88b08a" providerId="LiveId" clId="{D0D0D6DB-4B24-4E2C-A5FA-2AD6DFFBD362}" dt="2023-01-30T02:30:37.836" v="316" actId="2696"/>
        <pc:sldMasterMkLst>
          <pc:docMk/>
          <pc:sldMasterMk cId="2184812212" sldId="2147483912"/>
        </pc:sldMasterMkLst>
        <pc:sldLayoutChg chg="del">
          <pc:chgData name="Tường SKHĐT" userId="ab9568c39a88b08a" providerId="LiveId" clId="{D0D0D6DB-4B24-4E2C-A5FA-2AD6DFFBD362}" dt="2023-01-30T02:30:37.836" v="316" actId="2696"/>
          <pc:sldLayoutMkLst>
            <pc:docMk/>
            <pc:sldMasterMk cId="2184812212" sldId="2147483912"/>
            <pc:sldLayoutMk cId="3448674817" sldId="2147483929"/>
          </pc:sldLayoutMkLst>
        </pc:sldLayoutChg>
      </pc:sldMasterChg>
    </pc:docChg>
  </pc:docChgLst>
</pc:chgInfo>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https://d.docs.live.net/95b46f576ff3e227/n&#259;m%202023/TI&#7870;N%20&#272;&#7896;%20GI&#7842;I%20NG&#194;N/TH&#212;NG%20B&#193;O%20GI&#7842;I%20NG&#194;N%20&#272;&#7870;N%20C&#272;T/X&#7871;p%20h&#7841;ng%20gi&#7843;i%20ng&#226;n05.05.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C$13:$C$19</c:f>
            </c:numRef>
          </c:val>
          <c:extLst xmlns:c16r2="http://schemas.microsoft.com/office/drawing/2015/06/chart">
            <c:ext xmlns:c16="http://schemas.microsoft.com/office/drawing/2014/chart" uri="{C3380CC4-5D6E-409C-BE32-E72D297353CC}">
              <c16:uniqueId val="{00000000-FCE3-4E1E-A923-267B5406D835}"/>
            </c:ext>
          </c:extLst>
        </c:ser>
        <c:ser>
          <c:idx val="1"/>
          <c:order val="1"/>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D$13:$D$19</c:f>
            </c:numRef>
          </c:val>
          <c:extLst xmlns:c16r2="http://schemas.microsoft.com/office/drawing/2015/06/chart">
            <c:ext xmlns:c16="http://schemas.microsoft.com/office/drawing/2014/chart" uri="{C3380CC4-5D6E-409C-BE32-E72D297353CC}">
              <c16:uniqueId val="{00000001-FCE3-4E1E-A923-267B5406D835}"/>
            </c:ext>
          </c:extLst>
        </c:ser>
        <c:ser>
          <c:idx val="2"/>
          <c:order val="2"/>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E$13:$E$19</c:f>
            </c:numRef>
          </c:val>
          <c:extLst xmlns:c16r2="http://schemas.microsoft.com/office/drawing/2015/06/chart">
            <c:ext xmlns:c16="http://schemas.microsoft.com/office/drawing/2014/chart" uri="{C3380CC4-5D6E-409C-BE32-E72D297353CC}">
              <c16:uniqueId val="{00000002-FCE3-4E1E-A923-267B5406D835}"/>
            </c:ext>
          </c:extLst>
        </c:ser>
        <c:ser>
          <c:idx val="3"/>
          <c:order val="3"/>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F$13:$F$19</c:f>
            </c:numRef>
          </c:val>
          <c:extLst xmlns:c16r2="http://schemas.microsoft.com/office/drawing/2015/06/chart">
            <c:ext xmlns:c16="http://schemas.microsoft.com/office/drawing/2014/chart" uri="{C3380CC4-5D6E-409C-BE32-E72D297353CC}">
              <c16:uniqueId val="{00000003-FCE3-4E1E-A923-267B5406D835}"/>
            </c:ext>
          </c:extLst>
        </c:ser>
        <c:ser>
          <c:idx val="4"/>
          <c:order val="4"/>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G$13:$G$19</c:f>
            </c:numRef>
          </c:val>
          <c:extLst xmlns:c16r2="http://schemas.microsoft.com/office/drawing/2015/06/chart">
            <c:ext xmlns:c16="http://schemas.microsoft.com/office/drawing/2014/chart" uri="{C3380CC4-5D6E-409C-BE32-E72D297353CC}">
              <c16:uniqueId val="{00000004-FCE3-4E1E-A923-267B5406D835}"/>
            </c:ext>
          </c:extLst>
        </c:ser>
        <c:ser>
          <c:idx val="5"/>
          <c:order val="5"/>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H$13:$H$19</c:f>
            </c:numRef>
          </c:val>
          <c:extLst xmlns:c16r2="http://schemas.microsoft.com/office/drawing/2015/06/chart">
            <c:ext xmlns:c16="http://schemas.microsoft.com/office/drawing/2014/chart" uri="{C3380CC4-5D6E-409C-BE32-E72D297353CC}">
              <c16:uniqueId val="{00000005-FCE3-4E1E-A923-267B5406D835}"/>
            </c:ext>
          </c:extLst>
        </c:ser>
        <c:ser>
          <c:idx val="6"/>
          <c:order val="6"/>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I$13:$I$19</c:f>
            </c:numRef>
          </c:val>
          <c:extLst xmlns:c16r2="http://schemas.microsoft.com/office/drawing/2015/06/chart">
            <c:ext xmlns:c16="http://schemas.microsoft.com/office/drawing/2014/chart" uri="{C3380CC4-5D6E-409C-BE32-E72D297353CC}">
              <c16:uniqueId val="{00000006-FCE3-4E1E-A923-267B5406D835}"/>
            </c:ext>
          </c:extLst>
        </c:ser>
        <c:ser>
          <c:idx val="7"/>
          <c:order val="7"/>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J$13:$J$19</c:f>
            </c:numRef>
          </c:val>
          <c:extLst xmlns:c16r2="http://schemas.microsoft.com/office/drawing/2015/06/chart">
            <c:ext xmlns:c16="http://schemas.microsoft.com/office/drawing/2014/chart" uri="{C3380CC4-5D6E-409C-BE32-E72D297353CC}">
              <c16:uniqueId val="{00000007-FCE3-4E1E-A923-267B5406D835}"/>
            </c:ext>
          </c:extLst>
        </c:ser>
        <c:ser>
          <c:idx val="8"/>
          <c:order val="8"/>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K$13:$K$19</c:f>
            </c:numRef>
          </c:val>
          <c:extLst xmlns:c16r2="http://schemas.microsoft.com/office/drawing/2015/06/chart">
            <c:ext xmlns:c16="http://schemas.microsoft.com/office/drawing/2014/chart" uri="{C3380CC4-5D6E-409C-BE32-E72D297353CC}">
              <c16:uniqueId val="{00000008-FCE3-4E1E-A923-267B5406D835}"/>
            </c:ext>
          </c:extLst>
        </c:ser>
        <c:ser>
          <c:idx val="9"/>
          <c:order val="9"/>
          <c:spPr>
            <a:solidFill>
              <a:schemeClr val="accent2">
                <a:lumMod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L$13:$L$19</c:f>
            </c:numRef>
          </c:val>
          <c:extLst xmlns:c16r2="http://schemas.microsoft.com/office/drawing/2015/06/chart">
            <c:ext xmlns:c16="http://schemas.microsoft.com/office/drawing/2014/chart" uri="{C3380CC4-5D6E-409C-BE32-E72D297353CC}">
              <c16:uniqueId val="{00000009-FCE3-4E1E-A923-267B5406D835}"/>
            </c:ext>
          </c:extLst>
        </c:ser>
        <c:ser>
          <c:idx val="10"/>
          <c:order val="10"/>
          <c:spPr>
            <a:solidFill>
              <a:srgbClr val="FF0000"/>
            </a:solidFill>
            <a:ln>
              <a:noFill/>
            </a:ln>
            <a:effectLst/>
          </c:spPr>
          <c:invertIfNegative val="0"/>
          <c:dLbls>
            <c:dLbl>
              <c:idx val="0"/>
              <c:layout/>
              <c:tx>
                <c:rich>
                  <a:bodyPr/>
                  <a:lstStyle/>
                  <a:p>
                    <a:r>
                      <a:rPr lang="en-US" dirty="0"/>
                      <a:t>22,67%</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B-FCE3-4E1E-A923-267B5406D835}"/>
                </c:ext>
              </c:extLst>
            </c:dLbl>
            <c:dLbl>
              <c:idx val="1"/>
              <c:layout/>
              <c:tx>
                <c:rich>
                  <a:bodyPr/>
                  <a:lstStyle/>
                  <a:p>
                    <a:r>
                      <a:rPr lang="en-US" dirty="0"/>
                      <a:t>17,34%</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C-FCE3-4E1E-A923-267B5406D835}"/>
                </c:ext>
              </c:extLst>
            </c:dLbl>
            <c:dLbl>
              <c:idx val="2"/>
              <c:layout/>
              <c:tx>
                <c:rich>
                  <a:bodyPr/>
                  <a:lstStyle/>
                  <a:p>
                    <a:r>
                      <a:rPr lang="en-US" dirty="0"/>
                      <a:t>43,66%</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D-FCE3-4E1E-A923-267B5406D835}"/>
                </c:ext>
              </c:extLst>
            </c:dLbl>
            <c:dLbl>
              <c:idx val="3"/>
              <c:layout>
                <c:manualLayout>
                  <c:x val="-3.9268751937026527E-3"/>
                  <c:y val="-4.9368101261361465E-2"/>
                </c:manualLayout>
              </c:layout>
              <c:tx>
                <c:rich>
                  <a:bodyPr/>
                  <a:lstStyle/>
                  <a:p>
                    <a:r>
                      <a:rPr lang="en-US" dirty="0"/>
                      <a:t>23,32%</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E-FCE3-4E1E-A923-267B5406D835}"/>
                </c:ext>
              </c:extLst>
            </c:dLbl>
            <c:dLbl>
              <c:idx val="4"/>
              <c:layout/>
              <c:tx>
                <c:rich>
                  <a:bodyPr/>
                  <a:lstStyle/>
                  <a:p>
                    <a:r>
                      <a:rPr lang="en-US" dirty="0"/>
                      <a:t>12,74%</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F-FCE3-4E1E-A923-267B5406D835}"/>
                </c:ext>
              </c:extLst>
            </c:dLbl>
            <c:dLbl>
              <c:idx val="5"/>
              <c:layout/>
              <c:tx>
                <c:rich>
                  <a:bodyPr/>
                  <a:lstStyle/>
                  <a:p>
                    <a:r>
                      <a:rPr lang="en-US" dirty="0"/>
                      <a:t>42,76%</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10-FCE3-4E1E-A923-267B5406D835}"/>
                </c:ext>
              </c:extLst>
            </c:dLbl>
            <c:dLbl>
              <c:idx val="6"/>
              <c:layout/>
              <c:tx>
                <c:rich>
                  <a:bodyPr/>
                  <a:lstStyle/>
                  <a:p>
                    <a:r>
                      <a:rPr lang="en-US" dirty="0"/>
                      <a:t>47,55%</a:t>
                    </a:r>
                  </a:p>
                </c:rich>
              </c:tx>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11-FCE3-4E1E-A923-267B5406D835}"/>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960000"/>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05.05.2023.xlsx]slide 2'!$B$13:$B$19</c:f>
              <c:strCache>
                <c:ptCount val="7"/>
                <c:pt idx="0">
                  <c:v>TỔNG SỐ VỐN TỈNH QUẢN LÝ CHIA THEO NGUỒN</c:v>
                </c:pt>
                <c:pt idx="1">
                  <c:v>VỐN NGÂN SÁCH ĐỊA PHƯƠNG</c:v>
                </c:pt>
                <c:pt idx="2">
                  <c:v>VỐN TRUNG ƯƠNG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05.05.2023.xlsx]slide 2'!$M$13:$M$19</c:f>
              <c:numCache>
                <c:formatCode>#,##0.00</c:formatCode>
                <c:ptCount val="7"/>
                <c:pt idx="0">
                  <c:v>22.67</c:v>
                </c:pt>
                <c:pt idx="1">
                  <c:v>17.34</c:v>
                </c:pt>
                <c:pt idx="2">
                  <c:v>43.66</c:v>
                </c:pt>
                <c:pt idx="3">
                  <c:v>23.32</c:v>
                </c:pt>
                <c:pt idx="4">
                  <c:v>12.74</c:v>
                </c:pt>
                <c:pt idx="5">
                  <c:v>42.756293690725322</c:v>
                </c:pt>
                <c:pt idx="6">
                  <c:v>47.55</c:v>
                </c:pt>
              </c:numCache>
            </c:numRef>
          </c:val>
          <c:extLst xmlns:c16r2="http://schemas.microsoft.com/office/drawing/2015/06/chart">
            <c:ext xmlns:c16="http://schemas.microsoft.com/office/drawing/2014/chart" uri="{C3380CC4-5D6E-409C-BE32-E72D297353CC}">
              <c16:uniqueId val="{0000000A-FCE3-4E1E-A923-267B5406D835}"/>
            </c:ext>
          </c:extLst>
        </c:ser>
        <c:dLbls>
          <c:dLblPos val="outEnd"/>
          <c:showLegendKey val="0"/>
          <c:showVal val="1"/>
          <c:showCatName val="0"/>
          <c:showSerName val="0"/>
          <c:showPercent val="0"/>
          <c:showBubbleSize val="0"/>
        </c:dLbls>
        <c:gapWidth val="219"/>
        <c:overlap val="-27"/>
        <c:axId val="197472640"/>
        <c:axId val="197474176"/>
      </c:barChart>
      <c:catAx>
        <c:axId val="197472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99"/>
                </a:solidFill>
                <a:latin typeface="+mn-lt"/>
                <a:ea typeface="+mn-ea"/>
                <a:cs typeface="+mn-cs"/>
              </a:defRPr>
            </a:pPr>
            <a:endParaRPr lang="en-US"/>
          </a:p>
        </c:txPr>
        <c:crossAx val="197474176"/>
        <c:crosses val="autoZero"/>
        <c:auto val="1"/>
        <c:lblAlgn val="ctr"/>
        <c:lblOffset val="100"/>
        <c:noMultiLvlLbl val="0"/>
      </c:catAx>
      <c:valAx>
        <c:axId val="19747417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472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dirty="0"/>
            <a:t>1</a:t>
          </a:r>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lgn="just">
            <a:buNone/>
          </a:pP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ập trung </a:t>
          </a:r>
          <a:r>
            <a:rPr lang="nl-NL"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sản xuất vụ Hè Thu</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pt-BR"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ăng cường quản lý, giám sát công tác chăn nuôi, phòng chống dịch bệnh động vật</a:t>
          </a:r>
          <a:r>
            <a:rPr lang="en-US"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kh</a:t>
          </a:r>
          <a:r>
            <a:rPr lang="nl-NL"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ắc phục cảnh báo của Ủy ban châu Âu về chống khai thác thủy sản bất hợp pháp (IUU)</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C1933DE2-883B-467A-A497-FC1A03521BD0}">
      <dgm:prSet phldrT="[Text]"/>
      <dgm:spPr/>
      <dgm:t>
        <a:bodyPr/>
        <a:lstStyle/>
        <a:p>
          <a:r>
            <a:rPr lang="en-US" dirty="0"/>
            <a:t>2</a:t>
          </a:r>
        </a:p>
      </dgm:t>
    </dgm:pt>
    <dgm:pt modelId="{182E3680-630D-484B-89B5-E15E838A98D1}" type="parTrans" cxnId="{252A553D-B51E-445A-9195-BCB6DCFBCE23}">
      <dgm:prSet/>
      <dgm:spPr/>
      <dgm:t>
        <a:bodyPr/>
        <a:lstStyle/>
        <a:p>
          <a:endParaRPr lang="en-US"/>
        </a:p>
      </dgm:t>
    </dgm:pt>
    <dgm:pt modelId="{477253D1-903F-4DD6-A7E7-0586DD6242ED}" type="sibTrans" cxnId="{252A553D-B51E-445A-9195-BCB6DCFBCE23}">
      <dgm:prSet/>
      <dgm:spPr/>
      <dgm:t>
        <a:bodyPr/>
        <a:lstStyle/>
        <a:p>
          <a:endParaRPr lang="en-US"/>
        </a:p>
      </dgm:t>
    </dgm:pt>
    <dgm:pt modelId="{439D5BA7-172F-4129-ACD1-22C6B6C19329}">
      <dgm:prSet phldrT="[Tex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đất đai, tài nguyên khoáng sản, bảo vệ môi trường. </a:t>
          </a:r>
          <a:r>
            <a:rPr lang="vi-VN" sz="2400" kern="1200">
              <a:solidFill>
                <a:prstClr val="black">
                  <a:hueOff val="0"/>
                  <a:satOff val="0"/>
                  <a:lumOff val="0"/>
                  <a:alphaOff val="0"/>
                </a:prstClr>
              </a:solidFill>
              <a:latin typeface="Times New Roman" pitchFamily="18" charset="0"/>
              <a:ea typeface="+mn-ea"/>
              <a:cs typeface="Times New Roman" pitchFamily="18" charset="0"/>
            </a:rPr>
            <a:t>Khẩn trương </a:t>
          </a:r>
          <a:r>
            <a:rPr lang="en-US" sz="2400" kern="1200">
              <a:solidFill>
                <a:prstClr val="black">
                  <a:hueOff val="0"/>
                  <a:satOff val="0"/>
                  <a:lumOff val="0"/>
                  <a:alphaOff val="0"/>
                </a:prstClr>
              </a:solidFill>
              <a:latin typeface="Times New Roman" pitchFamily="18" charset="0"/>
              <a:ea typeface="+mn-ea"/>
              <a:cs typeface="Times New Roman" pitchFamily="18" charset="0"/>
            </a:rPr>
            <a:t>Phê duyệt kế hoạch sử dụng đất năm 2023 cấp huyện. Triển khai quyết liệt, đồng bộ các biện pháp bảo vệ môi trường trên địa bàn tỉnh</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8B64A804-016B-409D-B50E-B11366C9E709}" type="parTrans" cxnId="{03A57C13-84A1-47F9-9654-3D8E9D1A7AC5}">
      <dgm:prSet/>
      <dgm:spPr/>
      <dgm:t>
        <a:bodyPr/>
        <a:lstStyle/>
        <a:p>
          <a:endParaRPr lang="en-US"/>
        </a:p>
      </dgm:t>
    </dgm:pt>
    <dgm:pt modelId="{CA2B4599-8ADC-48A0-90B9-B09B905E51B6}" type="sibTrans" cxnId="{03A57C13-84A1-47F9-9654-3D8E9D1A7AC5}">
      <dgm:prSet/>
      <dgm:spPr/>
      <dgm:t>
        <a:bodyPr/>
        <a:lstStyle/>
        <a:p>
          <a:endParaRPr lang="en-US"/>
        </a:p>
      </dgm:t>
    </dgm:pt>
    <dgm:pt modelId="{56D39143-023E-4C72-BBA5-EF173F9BD014}">
      <dgm:prSet phldrT="[Text]"/>
      <dgm:spPr/>
      <dgm:t>
        <a:bodyPr/>
        <a:lstStyle/>
        <a:p>
          <a:r>
            <a:rPr lang="en-US" dirty="0"/>
            <a:t>3</a:t>
          </a:r>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87914017-FA12-4127-A184-E034C1EC6480}">
      <dgm:prSet phldrT="[Text]"/>
      <dgm:spPr/>
      <dgm:t>
        <a:bodyPr/>
        <a:lstStyle/>
        <a:p>
          <a:r>
            <a:rPr lang="en-US" dirty="0"/>
            <a:t>4</a:t>
          </a:r>
        </a:p>
      </dgm:t>
    </dgm:pt>
    <dgm:pt modelId="{F0E5AAF6-E516-4F11-97F6-F5ADCDD41BF9}" type="parTrans" cxnId="{55DC285D-1470-4222-8E89-BE4F56C5F65F}">
      <dgm:prSet/>
      <dgm:spPr/>
      <dgm:t>
        <a:bodyPr/>
        <a:lstStyle/>
        <a:p>
          <a:endParaRPr lang="en-US"/>
        </a:p>
      </dgm:t>
    </dgm:pt>
    <dgm:pt modelId="{4DC36D43-C191-4DCB-B6C6-54C4BECDF020}" type="sibTrans" cxnId="{55DC285D-1470-4222-8E89-BE4F56C5F65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ăng cường gặp gỡ, nắm bắt tình hình hoạt động của các doanh nghiệp; kịp thời tháo gỡ khó khăn, vướng mắc để doanh nghiệp sản xuất, kinh doanh hiệu quả</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các giải pháp kích cầu, thúc đẩy thương mại, dịch vụ, du lịch</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D309DC18-174A-4F37-915F-610F1A7B95FB}">
      <dgm:prSet custT="1"/>
      <dgm:spPr>
        <a:solidFill>
          <a:schemeClr val="accent2">
            <a:lumMod val="20000"/>
            <a:lumOff val="80000"/>
            <a:alpha val="90000"/>
          </a:schemeClr>
        </a:solidFill>
      </dgm:spPr>
      <dgm:t>
        <a:bodyPr/>
        <a:lstStyle/>
        <a:p>
          <a:pPr algn="just">
            <a:buNone/>
          </a:pPr>
          <a:r>
            <a:rPr lang="en-US"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uẩn bị chu đáo cáo điều kiện liên quan để tổ chức các chương trình kích cầu du lịch trong mùa cao điểm du lịch Hè 2023; tổ chức tốt các sự kiện văn hóa, thể dục – thể thao, nhất là chương trình Lễ hội du lịch Bình Định năm 2023</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422A5916-5E13-47D2-A7E8-5BE91CD14B7B}" type="parTrans" cxnId="{0F05AC3E-A175-45ED-A219-CC1EC1F39BD8}">
      <dgm:prSet/>
      <dgm:spPr/>
      <dgm:t>
        <a:bodyPr/>
        <a:lstStyle/>
        <a:p>
          <a:endParaRPr lang="en-US"/>
        </a:p>
      </dgm:t>
    </dgm:pt>
    <dgm:pt modelId="{75F9E508-6707-4068-B069-D4D3E8289F76}" type="sibTrans" cxnId="{0F05AC3E-A175-45ED-A219-CC1EC1F39BD8}">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4">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4">
        <dgm:presLayoutVars>
          <dgm:bulletEnabled val="1"/>
        </dgm:presLayoutVars>
      </dgm:prSet>
      <dgm:spPr/>
      <dgm:t>
        <a:bodyPr/>
        <a:lstStyle/>
        <a:p>
          <a:endParaRPr lang="en-US"/>
        </a:p>
      </dgm:t>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4">
        <dgm:presLayoutVars>
          <dgm:chMax val="1"/>
          <dgm:bulletEnabled val="1"/>
        </dgm:presLayoutVars>
      </dgm:prSet>
      <dgm:spPr/>
      <dgm:t>
        <a:bodyPr/>
        <a:lstStyle/>
        <a:p>
          <a:endParaRPr lang="en-US"/>
        </a:p>
      </dgm:t>
    </dgm:pt>
    <dgm:pt modelId="{594D2AB4-91B5-4F18-9ACA-1D51E359B741}" type="pres">
      <dgm:prSet presAssocID="{C1933DE2-883B-467A-A497-FC1A03521BD0}" presName="descendantText" presStyleLbl="alignAcc1" presStyleIdx="1" presStyleCnt="4">
        <dgm:presLayoutVars>
          <dgm:bulletEnabled val="1"/>
        </dgm:presLayoutVars>
      </dgm:prSet>
      <dgm:spPr/>
      <dgm:t>
        <a:bodyPr/>
        <a:lstStyle/>
        <a:p>
          <a:endParaRPr lang="en-US"/>
        </a:p>
      </dgm:t>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4">
        <dgm:presLayoutVars>
          <dgm:chMax val="1"/>
          <dgm:bulletEnabled val="1"/>
        </dgm:presLayoutVars>
      </dgm:prSet>
      <dgm:spPr/>
      <dgm:t>
        <a:bodyPr/>
        <a:lstStyle/>
        <a:p>
          <a:endParaRPr lang="en-US"/>
        </a:p>
      </dgm:t>
    </dgm:pt>
    <dgm:pt modelId="{18D2B7CF-92DC-4C98-B7A8-681260E88B2C}" type="pres">
      <dgm:prSet presAssocID="{56D39143-023E-4C72-BBA5-EF173F9BD014}" presName="descendantText" presStyleLbl="alignAcc1" presStyleIdx="2" presStyleCnt="4" custScaleY="104741">
        <dgm:presLayoutVars>
          <dgm:bulletEnabled val="1"/>
        </dgm:presLayoutVars>
      </dgm:prSet>
      <dgm:spPr/>
      <dgm:t>
        <a:bodyPr/>
        <a:lstStyle/>
        <a:p>
          <a:endParaRPr lang="en-US"/>
        </a:p>
      </dgm:t>
    </dgm:pt>
    <dgm:pt modelId="{C6BFF5ED-B2A4-46F5-8B3A-C809D8D3C566}" type="pres">
      <dgm:prSet presAssocID="{F979FFB3-6427-4249-90BE-69B53EC9AD13}" presName="sp" presStyleCnt="0"/>
      <dgm:spPr/>
    </dgm:pt>
    <dgm:pt modelId="{7122DA74-36ED-4C3B-930E-E2653DF9234C}" type="pres">
      <dgm:prSet presAssocID="{87914017-FA12-4127-A184-E034C1EC6480}" presName="composite" presStyleCnt="0"/>
      <dgm:spPr/>
    </dgm:pt>
    <dgm:pt modelId="{62D4FF5F-BB58-4DAC-9260-24E1A247C3C5}" type="pres">
      <dgm:prSet presAssocID="{87914017-FA12-4127-A184-E034C1EC6480}" presName="parentText" presStyleLbl="alignNode1" presStyleIdx="3" presStyleCnt="4" custLinFactNeighborY="11781">
        <dgm:presLayoutVars>
          <dgm:chMax val="1"/>
          <dgm:bulletEnabled val="1"/>
        </dgm:presLayoutVars>
      </dgm:prSet>
      <dgm:spPr/>
      <dgm:t>
        <a:bodyPr/>
        <a:lstStyle/>
        <a:p>
          <a:endParaRPr lang="en-US"/>
        </a:p>
      </dgm:t>
    </dgm:pt>
    <dgm:pt modelId="{46F44EEA-00FF-478B-BA4D-FAA533FBEC40}" type="pres">
      <dgm:prSet presAssocID="{87914017-FA12-4127-A184-E034C1EC6480}" presName="descendantText" presStyleLbl="alignAcc1" presStyleIdx="3" presStyleCnt="4" custScaleX="99392" custScaleY="109679" custLinFactNeighborX="-297" custLinFactNeighborY="4660">
        <dgm:presLayoutVars>
          <dgm:bulletEnabled val="1"/>
        </dgm:presLayoutVars>
      </dgm:prSet>
      <dgm:spPr/>
      <dgm:t>
        <a:bodyPr/>
        <a:lstStyle/>
        <a:p>
          <a:endParaRPr lang="en-US"/>
        </a:p>
      </dgm:t>
    </dgm:pt>
  </dgm:ptLst>
  <dgm:cxnLst>
    <dgm:cxn modelId="{F5A5FEDD-E52D-43C9-8D0E-0C952E7950B8}" type="presOf" srcId="{011C79E0-B116-4E55-8C54-A2CE86D2A740}" destId="{710DA7AD-DF2E-4B6F-8F66-B72A755643A6}" srcOrd="0" destOrd="0" presId="urn:microsoft.com/office/officeart/2005/8/layout/chevron2"/>
    <dgm:cxn modelId="{0F05AC3E-A175-45ED-A219-CC1EC1F39BD8}" srcId="{87914017-FA12-4127-A184-E034C1EC6480}" destId="{D309DC18-174A-4F37-915F-610F1A7B95FB}" srcOrd="0" destOrd="0" parTransId="{422A5916-5E13-47D2-A7E8-5BE91CD14B7B}" sibTransId="{75F9E508-6707-4068-B069-D4D3E8289F76}"/>
    <dgm:cxn modelId="{F2316B1A-A28B-4982-B678-722CAA864769}" srcId="{011C79E0-B116-4E55-8C54-A2CE86D2A740}" destId="{CE531857-95D9-4450-A523-F1CA7AE880F1}" srcOrd="0" destOrd="0" parTransId="{7049913E-CA72-4D04-86E8-DB4D4A7E415E}" sibTransId="{6F0CD08A-C498-4E17-88C3-1D1175F05039}"/>
    <dgm:cxn modelId="{E309BFBF-A1BB-4F85-89CF-E531CEF7C843}" type="presOf" srcId="{56D39143-023E-4C72-BBA5-EF173F9BD014}" destId="{3DA4DBDD-86BF-4DC6-9D99-05C1C1BFB383}" srcOrd="0" destOrd="0" presId="urn:microsoft.com/office/officeart/2005/8/layout/chevron2"/>
    <dgm:cxn modelId="{40842B22-64DD-4AD4-ADE7-E6340E5AC9CE}" type="presOf" srcId="{7158C417-01D3-4DA0-9415-16B3B3977CD1}" destId="{9770188F-3220-4119-9599-0FD33E998D9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64171CAC-7A3C-45A9-84AD-797ED4610BF4}" type="presOf" srcId="{87914017-FA12-4127-A184-E034C1EC6480}" destId="{62D4FF5F-BB58-4DAC-9260-24E1A247C3C5}" srcOrd="0" destOrd="0" presId="urn:microsoft.com/office/officeart/2005/8/layout/chevron2"/>
    <dgm:cxn modelId="{87018493-5DCC-46DF-ADEB-440E6C1C91C8}" type="presOf" srcId="{C1933DE2-883B-467A-A497-FC1A03521BD0}" destId="{89164601-E0A1-4038-AED2-754D77EF4C41}"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30697023-59AA-4C91-BC11-635A4CFC6D73}" type="presOf" srcId="{D309DC18-174A-4F37-915F-610F1A7B95FB}" destId="{46F44EEA-00FF-478B-BA4D-FAA533FBEC40}" srcOrd="0" destOrd="0" presId="urn:microsoft.com/office/officeart/2005/8/layout/chevron2"/>
    <dgm:cxn modelId="{03A57C13-84A1-47F9-9654-3D8E9D1A7AC5}" srcId="{C1933DE2-883B-467A-A497-FC1A03521BD0}" destId="{439D5BA7-172F-4129-ACD1-22C6B6C19329}" srcOrd="0" destOrd="0" parTransId="{8B64A804-016B-409D-B50E-B11366C9E709}" sibTransId="{CA2B4599-8ADC-48A0-90B9-B09B905E51B6}"/>
    <dgm:cxn modelId="{252A553D-B51E-445A-9195-BCB6DCFBCE23}" srcId="{011C79E0-B116-4E55-8C54-A2CE86D2A740}" destId="{C1933DE2-883B-467A-A497-FC1A03521BD0}" srcOrd="1" destOrd="0" parTransId="{182E3680-630D-484B-89B5-E15E838A98D1}" sibTransId="{477253D1-903F-4DD6-A7E7-0586DD6242ED}"/>
    <dgm:cxn modelId="{88AC068A-BA0C-4BE8-9CA2-D5EA93B65317}" type="presOf" srcId="{3D9335D1-031F-4F65-962F-9CDAB09D253B}" destId="{18D2B7CF-92DC-4C98-B7A8-681260E88B2C}"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663F9700-562A-4CCD-AE89-78493DE569CE}" type="presOf" srcId="{CE531857-95D9-4450-A523-F1CA7AE880F1}" destId="{E5F4221C-3B75-4195-B6B0-6C7247B30852}" srcOrd="0" destOrd="0" presId="urn:microsoft.com/office/officeart/2005/8/layout/chevron2"/>
    <dgm:cxn modelId="{26794A34-D8C6-4415-BC12-96721F7B7CB0}" type="presOf" srcId="{439D5BA7-172F-4129-ACD1-22C6B6C19329}" destId="{594D2AB4-91B5-4F18-9ACA-1D51E359B741}" srcOrd="0" destOrd="0" presId="urn:microsoft.com/office/officeart/2005/8/layout/chevron2"/>
    <dgm:cxn modelId="{55DC285D-1470-4222-8E89-BE4F56C5F65F}" srcId="{011C79E0-B116-4E55-8C54-A2CE86D2A740}" destId="{87914017-FA12-4127-A184-E034C1EC6480}" srcOrd="3" destOrd="0" parTransId="{F0E5AAF6-E516-4F11-97F6-F5ADCDD41BF9}" sibTransId="{4DC36D43-C191-4DCB-B6C6-54C4BECDF020}"/>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 modelId="{4F82E95F-5FC3-4E92-8488-E70A428C0966}" type="presParOf" srcId="{710DA7AD-DF2E-4B6F-8F66-B72A755643A6}" destId="{C6BFF5ED-B2A4-46F5-8B3A-C809D8D3C566}" srcOrd="5" destOrd="0" presId="urn:microsoft.com/office/officeart/2005/8/layout/chevron2"/>
    <dgm:cxn modelId="{26D1ABFC-18E5-446E-A440-E45FFC993329}" type="presParOf" srcId="{710DA7AD-DF2E-4B6F-8F66-B72A755643A6}" destId="{7122DA74-36ED-4C3B-930E-E2653DF9234C}" srcOrd="6" destOrd="0" presId="urn:microsoft.com/office/officeart/2005/8/layout/chevron2"/>
    <dgm:cxn modelId="{3D87914C-53BF-459E-8AFB-62B6BD74BFC4}" type="presParOf" srcId="{7122DA74-36ED-4C3B-930E-E2653DF9234C}" destId="{62D4FF5F-BB58-4DAC-9260-24E1A247C3C5}" srcOrd="0" destOrd="0" presId="urn:microsoft.com/office/officeart/2005/8/layout/chevron2"/>
    <dgm:cxn modelId="{64AEA35D-8274-4730-8551-D751B5E7E319}" type="presParOf" srcId="{7122DA74-36ED-4C3B-930E-E2653DF9234C}" destId="{46F44EEA-00FF-478B-BA4D-FAA533FBEC4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5</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lgn="just">
            <a:buNone/>
          </a:pPr>
          <a:r>
            <a:rPr lang="en-US" sz="2400" b="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thu, tiếp tục hỗ trợ doanh nghiệp được hưởng các chính sách ưu đãi. </a:t>
          </a:r>
          <a:r>
            <a:rPr lang="vi-VN" altLang="zh-CN" sz="2400" b="0" kern="1200">
              <a:solidFill>
                <a:prstClr val="black">
                  <a:hueOff val="0"/>
                  <a:satOff val="0"/>
                  <a:lumOff val="0"/>
                  <a:alphaOff val="0"/>
                </a:prstClr>
              </a:solidFill>
              <a:latin typeface="Times New Roman" pitchFamily="18" charset="0"/>
              <a:ea typeface="+mn-ea"/>
              <a:cs typeface="Times New Roman" pitchFamily="18" charset="0"/>
              <a:sym typeface="+mn-lt"/>
            </a:rPr>
            <a:t>Thực hiện tăng thu đối với các lĩnh vực còn dư địa. </a:t>
          </a:r>
          <a:r>
            <a:rPr lang="en-US" sz="2400" b="0" kern="1200">
              <a:solidFill>
                <a:prstClr val="black">
                  <a:hueOff val="0"/>
                  <a:satOff val="0"/>
                  <a:lumOff val="0"/>
                  <a:alphaOff val="0"/>
                </a:prstClr>
              </a:solidFill>
              <a:latin typeface="Times New Roman" pitchFamily="18" charset="0"/>
              <a:ea typeface="+mn-ea"/>
              <a:cs typeface="Times New Roman" pitchFamily="18" charset="0"/>
            </a:rPr>
            <a:t>Phấn đấu tăng thu thuế so với dự toán được giao là 914 tỷ đồng. Đảm bảo chi ngân sách đúng tiêu chuẩn, định mức, tiết kiệm, hiệu quả. </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C1933DE2-883B-467A-A497-FC1A03521BD0}">
      <dgm:prSet phldrT="[Text]"/>
      <dgm:spPr/>
      <dgm:t>
        <a:bodyPr/>
        <a:lstStyle/>
        <a:p>
          <a:r>
            <a:rPr lang="en-US"/>
            <a:t>6</a:t>
          </a:r>
          <a:endParaRPr lang="en-US" dirty="0"/>
        </a:p>
      </dgm:t>
    </dgm:pt>
    <dgm:pt modelId="{182E3680-630D-484B-89B5-E15E838A98D1}" type="parTrans" cxnId="{252A553D-B51E-445A-9195-BCB6DCFBCE23}">
      <dgm:prSet/>
      <dgm:spPr/>
      <dgm:t>
        <a:bodyPr/>
        <a:lstStyle/>
        <a:p>
          <a:endParaRPr lang="en-US"/>
        </a:p>
      </dgm:t>
    </dgm:pt>
    <dgm:pt modelId="{477253D1-903F-4DD6-A7E7-0586DD6242ED}" type="sibTrans" cxnId="{252A553D-B51E-445A-9195-BCB6DCFBCE23}">
      <dgm:prSet/>
      <dgm:spPr/>
      <dgm:t>
        <a:bodyPr/>
        <a:lstStyle/>
        <a:p>
          <a:endParaRPr lang="en-US"/>
        </a:p>
      </dgm:t>
    </dgm:pt>
    <dgm:pt modelId="{56D39143-023E-4C72-BBA5-EF173F9BD014}">
      <dgm:prSet phldrT="[Text]"/>
      <dgm:spPr/>
      <dgm:t>
        <a:bodyPr/>
        <a:lstStyle/>
        <a:p>
          <a:r>
            <a:rPr lang="en-US"/>
            <a:t>7</a:t>
          </a:r>
          <a:endParaRPr lang="en-US" dirty="0"/>
        </a:p>
      </dgm:t>
    </dgm:pt>
    <dgm:pt modelId="{704DAA72-BD58-41D8-A497-12E1A4CC40DA}" type="parTrans" cxnId="{A67447F1-BB7B-4D3B-82E0-4E32EF97F94F}">
      <dgm:prSet/>
      <dgm:spPr/>
      <dgm:t>
        <a:bodyPr/>
        <a:lstStyle/>
        <a:p>
          <a:endParaRPr lang="en-US"/>
        </a:p>
      </dgm:t>
    </dgm:pt>
    <dgm:pt modelId="{F979FFB3-6427-4249-90BE-69B53EC9AD13}" type="sibTrans" cxnId="{A67447F1-BB7B-4D3B-82E0-4E32EF97F94F}">
      <dgm:prSet/>
      <dgm:spPr/>
      <dgm:t>
        <a:bodyPr/>
        <a:lstStyle/>
        <a:p>
          <a:endParaRPr lang="en-US"/>
        </a:p>
      </dgm:t>
    </dgm:pt>
    <dgm:pt modelId="{87914017-FA12-4127-A184-E034C1EC6480}">
      <dgm:prSet phldrT="[Text]"/>
      <dgm:spPr/>
      <dgm:t>
        <a:bodyPr/>
        <a:lstStyle/>
        <a:p>
          <a:r>
            <a:rPr lang="en-US"/>
            <a:t>8</a:t>
          </a:r>
          <a:endParaRPr lang="en-US" dirty="0"/>
        </a:p>
      </dgm:t>
    </dgm:pt>
    <dgm:pt modelId="{F0E5AAF6-E516-4F11-97F6-F5ADCDD41BF9}" type="parTrans" cxnId="{55DC285D-1470-4222-8E89-BE4F56C5F65F}">
      <dgm:prSet/>
      <dgm:spPr/>
      <dgm:t>
        <a:bodyPr/>
        <a:lstStyle/>
        <a:p>
          <a:endParaRPr lang="en-US"/>
        </a:p>
      </dgm:t>
    </dgm:pt>
    <dgm:pt modelId="{4DC36D43-C191-4DCB-B6C6-54C4BECDF020}" type="sibTrans" cxnId="{55DC285D-1470-4222-8E89-BE4F56C5F65F}">
      <dgm:prSet/>
      <dgm:spPr/>
      <dgm:t>
        <a:bodyPr/>
        <a:lstStyle/>
        <a:p>
          <a:endParaRPr lang="en-US"/>
        </a:p>
      </dgm:t>
    </dgm:pt>
    <dgm:pt modelId="{3D9335D1-031F-4F65-962F-9CDAB09D253B}">
      <dgm:prSe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iếp tục chú trọng thực hiện đồng bộ các biện pháp phòng, chống</a:t>
          </a:r>
          <a:r>
            <a:rPr lang="vi-VN" sz="2400" kern="1200">
              <a:solidFill>
                <a:prstClr val="black">
                  <a:hueOff val="0"/>
                  <a:satOff val="0"/>
                  <a:lumOff val="0"/>
                  <a:alphaOff val="0"/>
                </a:prstClr>
              </a:solidFill>
              <a:latin typeface="Times New Roman" pitchFamily="18" charset="0"/>
              <a:ea typeface="+mn-ea"/>
              <a:cs typeface="Times New Roman" pitchFamily="18" charset="0"/>
            </a:rPr>
            <a:t> và tiêm vắc-xin phòng Covid-19. Đẩy mạnh các hoạt động </a:t>
          </a:r>
          <a:r>
            <a:rPr lang="it-IT" sz="2400" kern="1200">
              <a:solidFill>
                <a:prstClr val="black">
                  <a:hueOff val="0"/>
                  <a:satOff val="0"/>
                  <a:lumOff val="0"/>
                  <a:alphaOff val="0"/>
                </a:prstClr>
              </a:solidFill>
              <a:latin typeface="Times New Roman" pitchFamily="18" charset="0"/>
              <a:ea typeface="+mn-ea"/>
              <a:cs typeface="Times New Roman" pitchFamily="18" charset="0"/>
            </a:rPr>
            <a:t>trên các lĩnh vực y tế, giáo dục, văn hóa, thể dục thể thao...</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A8D602EA-28E3-40C4-B5A1-8DB7AC2DB7AE}" type="parTrans" cxnId="{56A90894-A054-40DB-AC89-EF01EA3423D6}">
      <dgm:prSet/>
      <dgm:spPr/>
      <dgm:t>
        <a:bodyPr/>
        <a:lstStyle/>
        <a:p>
          <a:endParaRPr lang="en-US"/>
        </a:p>
      </dgm:t>
    </dgm:pt>
    <dgm:pt modelId="{354CC2F7-7518-4094-B82B-BC553913C535}" type="sibTrans" cxnId="{56A90894-A054-40DB-AC89-EF01EA3423D6}">
      <dgm:prSet/>
      <dgm:spPr/>
      <dgm:t>
        <a:bodyPr/>
        <a:lstStyle/>
        <a:p>
          <a:endParaRPr lang="en-US"/>
        </a:p>
      </dgm:t>
    </dgm:pt>
    <dgm:pt modelId="{D309DC18-174A-4F37-915F-610F1A7B95FB}">
      <dgm:prSet custT="1"/>
      <dgm:spPr>
        <a:solidFill>
          <a:schemeClr val="accent2">
            <a:lumMod val="20000"/>
            <a:lumOff val="80000"/>
            <a:alpha val="90000"/>
          </a:schemeClr>
        </a:solidFill>
      </dgm:spPr>
      <dgm:t>
        <a:bodyPr/>
        <a:lstStyle/>
        <a:p>
          <a:pPr algn="just">
            <a:buNone/>
          </a:pPr>
          <a:r>
            <a:rPr lang="it-IT" sz="2400" kern="1200">
              <a:solidFill>
                <a:prstClr val="black">
                  <a:hueOff val="0"/>
                  <a:satOff val="0"/>
                  <a:lumOff val="0"/>
                  <a:alphaOff val="0"/>
                </a:prstClr>
              </a:solidFill>
              <a:latin typeface="Times New Roman" pitchFamily="18" charset="0"/>
              <a:ea typeface="+mn-ea"/>
              <a:cs typeface="Times New Roman" pitchFamily="18" charset="0"/>
            </a:rPr>
            <a:t>Tiếp tục chỉ đạo nâng cao chất lượng, hiệu quả hoạt động của hệ thống chính quyền các cấp. Đẩy mạnh cải cách thủ tục hành chính</a:t>
          </a:r>
          <a:r>
            <a:rPr lang="vi-VN" sz="2400" kern="1200">
              <a:solidFill>
                <a:prstClr val="black">
                  <a:hueOff val="0"/>
                  <a:satOff val="0"/>
                  <a:lumOff val="0"/>
                  <a:alphaOff val="0"/>
                </a:prstClr>
              </a:solidFill>
              <a:latin typeface="Times New Roman" pitchFamily="18" charset="0"/>
              <a:ea typeface="+mn-ea"/>
              <a:cs typeface="Times New Roman" pitchFamily="18" charset="0"/>
            </a:rPr>
            <a:t>. </a:t>
          </a:r>
          <a:r>
            <a:rPr lang="vi-VN"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ực hiện có hiệu quả các chương trình, kế hoạch về quốc phòng, an ninh, phòng chống tội phạm</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422A5916-5E13-47D2-A7E8-5BE91CD14B7B}" type="parTrans" cxnId="{0F05AC3E-A175-45ED-A219-CC1EC1F39BD8}">
      <dgm:prSet/>
      <dgm:spPr/>
      <dgm:t>
        <a:bodyPr/>
        <a:lstStyle/>
        <a:p>
          <a:endParaRPr lang="en-US"/>
        </a:p>
      </dgm:t>
    </dgm:pt>
    <dgm:pt modelId="{75F9E508-6707-4068-B069-D4D3E8289F76}" type="sibTrans" cxnId="{0F05AC3E-A175-45ED-A219-CC1EC1F39BD8}">
      <dgm:prSet/>
      <dgm:spPr/>
      <dgm:t>
        <a:bodyPr/>
        <a:lstStyle/>
        <a:p>
          <a:endParaRPr lang="en-US"/>
        </a:p>
      </dgm:t>
    </dgm:pt>
    <dgm:pt modelId="{26974BF8-3CAD-48B5-8695-AFDF1C1B40AB}">
      <dgm:prSet phldrT="[Text]" custT="1"/>
      <dgm:spPr>
        <a:solidFill>
          <a:schemeClr val="accent2">
            <a:lumMod val="20000"/>
            <a:lumOff val="80000"/>
            <a:alpha val="90000"/>
          </a:schemeClr>
        </a:solidFill>
      </dgm:spPr>
      <dgm:t>
        <a:bodyPr/>
        <a:lstStyle/>
        <a:p>
          <a:pPr algn="just">
            <a:buFontTx/>
            <a:buNone/>
          </a:pPr>
          <a:r>
            <a:rPr lang="it-IT"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a:t>
          </a:r>
          <a:r>
            <a:rPr lang="it-IT" sz="2400" b="0" kern="1200">
              <a:solidFill>
                <a:prstClr val="black">
                  <a:hueOff val="0"/>
                  <a:satOff val="0"/>
                  <a:lumOff val="0"/>
                  <a:alphaOff val="0"/>
                </a:prstClr>
              </a:solidFill>
              <a:latin typeface="Times New Roman" pitchFamily="18" charset="0"/>
              <a:ea typeface="+mn-ea"/>
              <a:cs typeface="Times New Roman" pitchFamily="18" charset="0"/>
            </a:rPr>
            <a:t>y mạnh giải ngân vốn đầu tư công, triển khai hiệu </a:t>
          </a:r>
          <a:r>
            <a:rPr lang="it-IT"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quả 03 Chương trình mục tiêu quốc gia. Kiên quyết điều hòa vốn đầu tư công từ CĐT chưa thực hiện được sang CĐT có nhu cầu bổ sung vốn</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gm:t>
    </dgm:pt>
    <dgm:pt modelId="{1E90FB2D-15A2-4557-9ACE-E0DBFFB46581}" type="parTrans" cxnId="{447A38CA-3088-488A-A0BB-53456DC1DD5B}">
      <dgm:prSet/>
      <dgm:spPr/>
      <dgm:t>
        <a:bodyPr/>
        <a:lstStyle/>
        <a:p>
          <a:endParaRPr lang="vi-VN"/>
        </a:p>
      </dgm:t>
    </dgm:pt>
    <dgm:pt modelId="{7364E365-CC5C-41C7-A485-77ECC80B4DA3}" type="sibTrans" cxnId="{447A38CA-3088-488A-A0BB-53456DC1DD5B}">
      <dgm:prSet/>
      <dgm:spPr/>
      <dgm:t>
        <a:bodyPr/>
        <a:lstStyle/>
        <a:p>
          <a:endParaRPr lang="vi-VN"/>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4">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4" custScaleY="128787">
        <dgm:presLayoutVars>
          <dgm:bulletEnabled val="1"/>
        </dgm:presLayoutVars>
      </dgm:prSet>
      <dgm:spPr/>
      <dgm:t>
        <a:bodyPr/>
        <a:lstStyle/>
        <a:p>
          <a:endParaRPr lang="en-US"/>
        </a:p>
      </dgm:t>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4">
        <dgm:presLayoutVars>
          <dgm:chMax val="1"/>
          <dgm:bulletEnabled val="1"/>
        </dgm:presLayoutVars>
      </dgm:prSet>
      <dgm:spPr/>
      <dgm:t>
        <a:bodyPr/>
        <a:lstStyle/>
        <a:p>
          <a:endParaRPr lang="en-US"/>
        </a:p>
      </dgm:t>
    </dgm:pt>
    <dgm:pt modelId="{594D2AB4-91B5-4F18-9ACA-1D51E359B741}" type="pres">
      <dgm:prSet presAssocID="{C1933DE2-883B-467A-A497-FC1A03521BD0}" presName="descendantText" presStyleLbl="alignAcc1" presStyleIdx="1" presStyleCnt="4">
        <dgm:presLayoutVars>
          <dgm:bulletEnabled val="1"/>
        </dgm:presLayoutVars>
      </dgm:prSet>
      <dgm:spPr/>
      <dgm:t>
        <a:bodyPr/>
        <a:lstStyle/>
        <a:p>
          <a:endParaRPr lang="en-US"/>
        </a:p>
      </dgm:t>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4">
        <dgm:presLayoutVars>
          <dgm:chMax val="1"/>
          <dgm:bulletEnabled val="1"/>
        </dgm:presLayoutVars>
      </dgm:prSet>
      <dgm:spPr/>
      <dgm:t>
        <a:bodyPr/>
        <a:lstStyle/>
        <a:p>
          <a:endParaRPr lang="en-US"/>
        </a:p>
      </dgm:t>
    </dgm:pt>
    <dgm:pt modelId="{18D2B7CF-92DC-4C98-B7A8-681260E88B2C}" type="pres">
      <dgm:prSet presAssocID="{56D39143-023E-4C72-BBA5-EF173F9BD014}" presName="descendantText" presStyleLbl="alignAcc1" presStyleIdx="2" presStyleCnt="4" custScaleX="99520" custScaleY="98154">
        <dgm:presLayoutVars>
          <dgm:bulletEnabled val="1"/>
        </dgm:presLayoutVars>
      </dgm:prSet>
      <dgm:spPr/>
      <dgm:t>
        <a:bodyPr/>
        <a:lstStyle/>
        <a:p>
          <a:endParaRPr lang="en-US"/>
        </a:p>
      </dgm:t>
    </dgm:pt>
    <dgm:pt modelId="{C6BFF5ED-B2A4-46F5-8B3A-C809D8D3C566}" type="pres">
      <dgm:prSet presAssocID="{F979FFB3-6427-4249-90BE-69B53EC9AD13}" presName="sp" presStyleCnt="0"/>
      <dgm:spPr/>
    </dgm:pt>
    <dgm:pt modelId="{7122DA74-36ED-4C3B-930E-E2653DF9234C}" type="pres">
      <dgm:prSet presAssocID="{87914017-FA12-4127-A184-E034C1EC6480}" presName="composite" presStyleCnt="0"/>
      <dgm:spPr/>
    </dgm:pt>
    <dgm:pt modelId="{62D4FF5F-BB58-4DAC-9260-24E1A247C3C5}" type="pres">
      <dgm:prSet presAssocID="{87914017-FA12-4127-A184-E034C1EC6480}" presName="parentText" presStyleLbl="alignNode1" presStyleIdx="3" presStyleCnt="4" custLinFactNeighborY="11781">
        <dgm:presLayoutVars>
          <dgm:chMax val="1"/>
          <dgm:bulletEnabled val="1"/>
        </dgm:presLayoutVars>
      </dgm:prSet>
      <dgm:spPr/>
      <dgm:t>
        <a:bodyPr/>
        <a:lstStyle/>
        <a:p>
          <a:endParaRPr lang="en-US"/>
        </a:p>
      </dgm:t>
    </dgm:pt>
    <dgm:pt modelId="{46F44EEA-00FF-478B-BA4D-FAA533FBEC40}" type="pres">
      <dgm:prSet presAssocID="{87914017-FA12-4127-A184-E034C1EC6480}" presName="descendantText" presStyleLbl="alignAcc1" presStyleIdx="3" presStyleCnt="4" custScaleY="101953" custLinFactNeighborY="2690">
        <dgm:presLayoutVars>
          <dgm:bulletEnabled val="1"/>
        </dgm:presLayoutVars>
      </dgm:prSet>
      <dgm:spPr/>
      <dgm:t>
        <a:bodyPr/>
        <a:lstStyle/>
        <a:p>
          <a:endParaRPr lang="en-US"/>
        </a:p>
      </dgm:t>
    </dgm:pt>
  </dgm:ptLst>
  <dgm:cxnLst>
    <dgm:cxn modelId="{F5A5FEDD-E52D-43C9-8D0E-0C952E7950B8}" type="presOf" srcId="{011C79E0-B116-4E55-8C54-A2CE86D2A740}" destId="{710DA7AD-DF2E-4B6F-8F66-B72A755643A6}" srcOrd="0" destOrd="0" presId="urn:microsoft.com/office/officeart/2005/8/layout/chevron2"/>
    <dgm:cxn modelId="{0F05AC3E-A175-45ED-A219-CC1EC1F39BD8}" srcId="{87914017-FA12-4127-A184-E034C1EC6480}" destId="{D309DC18-174A-4F37-915F-610F1A7B95FB}" srcOrd="0" destOrd="0" parTransId="{422A5916-5E13-47D2-A7E8-5BE91CD14B7B}" sibTransId="{75F9E508-6707-4068-B069-D4D3E8289F76}"/>
    <dgm:cxn modelId="{F2316B1A-A28B-4982-B678-722CAA864769}" srcId="{011C79E0-B116-4E55-8C54-A2CE86D2A740}" destId="{CE531857-95D9-4450-A523-F1CA7AE880F1}" srcOrd="0" destOrd="0" parTransId="{7049913E-CA72-4D04-86E8-DB4D4A7E415E}" sibTransId="{6F0CD08A-C498-4E17-88C3-1D1175F05039}"/>
    <dgm:cxn modelId="{E309BFBF-A1BB-4F85-89CF-E531CEF7C843}" type="presOf" srcId="{56D39143-023E-4C72-BBA5-EF173F9BD014}" destId="{3DA4DBDD-86BF-4DC6-9D99-05C1C1BFB383}" srcOrd="0" destOrd="0" presId="urn:microsoft.com/office/officeart/2005/8/layout/chevron2"/>
    <dgm:cxn modelId="{40842B22-64DD-4AD4-ADE7-E6340E5AC9CE}" type="presOf" srcId="{7158C417-01D3-4DA0-9415-16B3B3977CD1}" destId="{9770188F-3220-4119-9599-0FD33E998D96}" srcOrd="0" destOrd="0" presId="urn:microsoft.com/office/officeart/2005/8/layout/chevron2"/>
    <dgm:cxn modelId="{0463A511-E772-4ED1-B0CA-102E0848F73E}" type="presOf" srcId="{26974BF8-3CAD-48B5-8695-AFDF1C1B40AB}" destId="{594D2AB4-91B5-4F18-9ACA-1D51E359B741}"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64171CAC-7A3C-45A9-84AD-797ED4610BF4}" type="presOf" srcId="{87914017-FA12-4127-A184-E034C1EC6480}" destId="{62D4FF5F-BB58-4DAC-9260-24E1A247C3C5}" srcOrd="0" destOrd="0" presId="urn:microsoft.com/office/officeart/2005/8/layout/chevron2"/>
    <dgm:cxn modelId="{87018493-5DCC-46DF-ADEB-440E6C1C91C8}" type="presOf" srcId="{C1933DE2-883B-467A-A497-FC1A03521BD0}" destId="{89164601-E0A1-4038-AED2-754D77EF4C41}"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30697023-59AA-4C91-BC11-635A4CFC6D73}" type="presOf" srcId="{D309DC18-174A-4F37-915F-610F1A7B95FB}" destId="{46F44EEA-00FF-478B-BA4D-FAA533FBEC40}"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88AC068A-BA0C-4BE8-9CA2-D5EA93B65317}" type="presOf" srcId="{3D9335D1-031F-4F65-962F-9CDAB09D253B}" destId="{18D2B7CF-92DC-4C98-B7A8-681260E88B2C}" srcOrd="0" destOrd="0" presId="urn:microsoft.com/office/officeart/2005/8/layout/chevron2"/>
    <dgm:cxn modelId="{447A38CA-3088-488A-A0BB-53456DC1DD5B}" srcId="{C1933DE2-883B-467A-A497-FC1A03521BD0}" destId="{26974BF8-3CAD-48B5-8695-AFDF1C1B40AB}" srcOrd="0" destOrd="0" parTransId="{1E90FB2D-15A2-4557-9ACE-E0DBFFB46581}" sibTransId="{7364E365-CC5C-41C7-A485-77ECC80B4DA3}"/>
    <dgm:cxn modelId="{56A90894-A054-40DB-AC89-EF01EA3423D6}" srcId="{56D39143-023E-4C72-BBA5-EF173F9BD014}" destId="{3D9335D1-031F-4F65-962F-9CDAB09D253B}" srcOrd="0" destOrd="0" parTransId="{A8D602EA-28E3-40C4-B5A1-8DB7AC2DB7AE}" sibTransId="{354CC2F7-7518-4094-B82B-BC553913C535}"/>
    <dgm:cxn modelId="{663F9700-562A-4CCD-AE89-78493DE569CE}" type="presOf" srcId="{CE531857-95D9-4450-A523-F1CA7AE880F1}" destId="{E5F4221C-3B75-4195-B6B0-6C7247B30852}" srcOrd="0" destOrd="0" presId="urn:microsoft.com/office/officeart/2005/8/layout/chevron2"/>
    <dgm:cxn modelId="{55DC285D-1470-4222-8E89-BE4F56C5F65F}" srcId="{011C79E0-B116-4E55-8C54-A2CE86D2A740}" destId="{87914017-FA12-4127-A184-E034C1EC6480}" srcOrd="3" destOrd="0" parTransId="{F0E5AAF6-E516-4F11-97F6-F5ADCDD41BF9}" sibTransId="{4DC36D43-C191-4DCB-B6C6-54C4BECDF020}"/>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 modelId="{4F82E95F-5FC3-4E92-8488-E70A428C0966}" type="presParOf" srcId="{710DA7AD-DF2E-4B6F-8F66-B72A755643A6}" destId="{C6BFF5ED-B2A4-46F5-8B3A-C809D8D3C566}" srcOrd="5" destOrd="0" presId="urn:microsoft.com/office/officeart/2005/8/layout/chevron2"/>
    <dgm:cxn modelId="{26D1ABFC-18E5-446E-A440-E45FFC993329}" type="presParOf" srcId="{710DA7AD-DF2E-4B6F-8F66-B72A755643A6}" destId="{7122DA74-36ED-4C3B-930E-E2653DF9234C}" srcOrd="6" destOrd="0" presId="urn:microsoft.com/office/officeart/2005/8/layout/chevron2"/>
    <dgm:cxn modelId="{3D87914C-53BF-459E-8AFB-62B6BD74BFC4}" type="presParOf" srcId="{7122DA74-36ED-4C3B-930E-E2653DF9234C}" destId="{62D4FF5F-BB58-4DAC-9260-24E1A247C3C5}" srcOrd="0" destOrd="0" presId="urn:microsoft.com/office/officeart/2005/8/layout/chevron2"/>
    <dgm:cxn modelId="{64AEA35D-8274-4730-8551-D751B5E7E319}" type="presParOf" srcId="{7122DA74-36ED-4C3B-930E-E2653DF9234C}" destId="{46F44EEA-00FF-478B-BA4D-FAA533FBEC4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36443" y="240363"/>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r>
            <a:rPr lang="en-US" sz="3100" kern="1200" dirty="0"/>
            <a:t>1</a:t>
          </a:r>
        </a:p>
      </dsp:txBody>
      <dsp:txXfrm rot="-5400000">
        <a:off x="0" y="555621"/>
        <a:ext cx="1103402" cy="472886"/>
      </dsp:txXfrm>
    </dsp:sp>
    <dsp:sp modelId="{9770188F-3220-4119-9599-0FD33E998D96}">
      <dsp:nvSpPr>
        <dsp:cNvPr id="0" name=""/>
        <dsp:cNvSpPr/>
      </dsp:nvSpPr>
      <dsp:spPr>
        <a:xfrm rot="5400000">
          <a:off x="5637651" y="-4530329"/>
          <a:ext cx="1024587" cy="1009308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ập trung </a:t>
          </a:r>
          <a:r>
            <a:rPr lang="nl-NL"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sản xuất vụ Hè Thu</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pt-BR"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ăng cường quản lý, giám sát công tác chăn nuôi, phòng chống dịch bệnh động vật</a:t>
          </a:r>
          <a:r>
            <a:rPr lang="en-US"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kh</a:t>
          </a:r>
          <a:r>
            <a:rPr lang="nl-NL"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ắc phục cảnh báo của Ủy ban châu Âu về chống khai thác thủy sản bất hợp pháp (IUU)</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03402" y="53936"/>
        <a:ext cx="10043070" cy="924555"/>
      </dsp:txXfrm>
    </dsp:sp>
    <dsp:sp modelId="{89164601-E0A1-4038-AED2-754D77EF4C41}">
      <dsp:nvSpPr>
        <dsp:cNvPr id="0" name=""/>
        <dsp:cNvSpPr/>
      </dsp:nvSpPr>
      <dsp:spPr>
        <a:xfrm rot="5400000">
          <a:off x="-236443" y="1675024"/>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r>
            <a:rPr lang="en-US" sz="3100" kern="1200" dirty="0"/>
            <a:t>2</a:t>
          </a:r>
        </a:p>
      </dsp:txBody>
      <dsp:txXfrm rot="-5400000">
        <a:off x="0" y="1990282"/>
        <a:ext cx="1103402" cy="472886"/>
      </dsp:txXfrm>
    </dsp:sp>
    <dsp:sp modelId="{594D2AB4-91B5-4F18-9ACA-1D51E359B741}">
      <dsp:nvSpPr>
        <dsp:cNvPr id="0" name=""/>
        <dsp:cNvSpPr/>
      </dsp:nvSpPr>
      <dsp:spPr>
        <a:xfrm rot="5400000">
          <a:off x="5637651" y="-3095668"/>
          <a:ext cx="1024587" cy="1009308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it-IT" sz="240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đất đai, tài nguyên khoáng sản, bảo vệ môi trường. </a:t>
          </a:r>
          <a:r>
            <a:rPr lang="vi-VN" sz="2400" kern="1200">
              <a:solidFill>
                <a:prstClr val="black">
                  <a:hueOff val="0"/>
                  <a:satOff val="0"/>
                  <a:lumOff val="0"/>
                  <a:alphaOff val="0"/>
                </a:prstClr>
              </a:solidFill>
              <a:latin typeface="Times New Roman" pitchFamily="18" charset="0"/>
              <a:ea typeface="+mn-ea"/>
              <a:cs typeface="Times New Roman" pitchFamily="18" charset="0"/>
            </a:rPr>
            <a:t>Khẩn trương </a:t>
          </a:r>
          <a:r>
            <a:rPr lang="en-US" sz="2400" kern="1200">
              <a:solidFill>
                <a:prstClr val="black">
                  <a:hueOff val="0"/>
                  <a:satOff val="0"/>
                  <a:lumOff val="0"/>
                  <a:alphaOff val="0"/>
                </a:prstClr>
              </a:solidFill>
              <a:latin typeface="Times New Roman" pitchFamily="18" charset="0"/>
              <a:ea typeface="+mn-ea"/>
              <a:cs typeface="Times New Roman" pitchFamily="18" charset="0"/>
            </a:rPr>
            <a:t>Phê duyệt kế hoạch sử dụng đất năm 2023 cấp huyện. Triển khai quyết liệt, đồng bộ các biện pháp bảo vệ môi trường trên địa bàn tỉnh</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103402" y="1488597"/>
        <a:ext cx="10043070" cy="924555"/>
      </dsp:txXfrm>
    </dsp:sp>
    <dsp:sp modelId="{3DA4DBDD-86BF-4DC6-9D99-05C1C1BFB383}">
      <dsp:nvSpPr>
        <dsp:cNvPr id="0" name=""/>
        <dsp:cNvSpPr/>
      </dsp:nvSpPr>
      <dsp:spPr>
        <a:xfrm rot="5400000">
          <a:off x="-236443" y="3133972"/>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r>
            <a:rPr lang="en-US" sz="3100" kern="1200" dirty="0"/>
            <a:t>3</a:t>
          </a:r>
        </a:p>
      </dsp:txBody>
      <dsp:txXfrm rot="-5400000">
        <a:off x="0" y="3449230"/>
        <a:ext cx="1103402" cy="472886"/>
      </dsp:txXfrm>
    </dsp:sp>
    <dsp:sp modelId="{18D2B7CF-92DC-4C98-B7A8-681260E88B2C}">
      <dsp:nvSpPr>
        <dsp:cNvPr id="0" name=""/>
        <dsp:cNvSpPr/>
      </dsp:nvSpPr>
      <dsp:spPr>
        <a:xfrm rot="5400000">
          <a:off x="5613363" y="-1636720"/>
          <a:ext cx="1073163" cy="1009308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ăng cường gặp gỡ, nắm bắt tình hình hoạt động của các doanh nghiệp; kịp thời tháo gỡ khó khăn, vướng mắc để doanh nghiệp sản xuất, kinh doanh hiệu quả</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it-IT"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các giải pháp kích cầu, thúc đẩy thương mại, dịch vụ, du lịch</a:t>
          </a:r>
          <a:r>
            <a:rPr lang="vi-VN"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03402" y="2925628"/>
        <a:ext cx="10040699" cy="968389"/>
      </dsp:txXfrm>
    </dsp:sp>
    <dsp:sp modelId="{62D4FF5F-BB58-4DAC-9260-24E1A247C3C5}">
      <dsp:nvSpPr>
        <dsp:cNvPr id="0" name=""/>
        <dsp:cNvSpPr/>
      </dsp:nvSpPr>
      <dsp:spPr>
        <a:xfrm rot="5400000">
          <a:off x="-236443" y="4622138"/>
          <a:ext cx="1576288" cy="110340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685" tIns="19685" rIns="19685" bIns="19685" numCol="1" spcCol="1270" anchor="ctr" anchorCtr="0">
          <a:noAutofit/>
        </a:bodyPr>
        <a:lstStyle/>
        <a:p>
          <a:pPr lvl="0" algn="ctr" defTabSz="1377950">
            <a:lnSpc>
              <a:spcPct val="90000"/>
            </a:lnSpc>
            <a:spcBef>
              <a:spcPct val="0"/>
            </a:spcBef>
            <a:spcAft>
              <a:spcPct val="35000"/>
            </a:spcAft>
          </a:pPr>
          <a:r>
            <a:rPr lang="en-US" sz="3100" kern="1200" dirty="0"/>
            <a:t>4</a:t>
          </a:r>
        </a:p>
      </dsp:txBody>
      <dsp:txXfrm rot="-5400000">
        <a:off x="0" y="4937396"/>
        <a:ext cx="1103402" cy="472886"/>
      </dsp:txXfrm>
    </dsp:sp>
    <dsp:sp modelId="{46F44EEA-00FF-478B-BA4D-FAA533FBEC40}">
      <dsp:nvSpPr>
        <dsp:cNvPr id="0" name=""/>
        <dsp:cNvSpPr/>
      </dsp:nvSpPr>
      <dsp:spPr>
        <a:xfrm rot="5400000">
          <a:off x="5558090" y="-74046"/>
          <a:ext cx="1123757" cy="1003172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en-US" sz="240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uẩn bị chu đáo cáo điều kiện liên quan để tổ chức các chương trình kích cầu du lịch trong mùa cao điểm du lịch Hè 2023; tổ chức tốt các sự kiện văn hóa, thể dục – thể thao, nhất là chương trình Lễ hội du lịch Bình Định năm 2023</a:t>
          </a:r>
          <a:endParaRPr lang="en-US" sz="2400"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1104109" y="4434792"/>
        <a:ext cx="9976863" cy="10140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20296" y="365650"/>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a:t>5</a:t>
          </a:r>
          <a:endParaRPr lang="en-US" sz="2800" kern="1200" dirty="0"/>
        </a:p>
      </dsp:txBody>
      <dsp:txXfrm rot="-5400000">
        <a:off x="1" y="659379"/>
        <a:ext cx="1028052" cy="440594"/>
      </dsp:txXfrm>
    </dsp:sp>
    <dsp:sp modelId="{9770188F-3220-4119-9599-0FD33E998D96}">
      <dsp:nvSpPr>
        <dsp:cNvPr id="0" name=""/>
        <dsp:cNvSpPr/>
      </dsp:nvSpPr>
      <dsp:spPr>
        <a:xfrm rot="5400000">
          <a:off x="5349167" y="-4313165"/>
          <a:ext cx="1229426" cy="987165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en-US" sz="2400" b="0" kern="1200">
              <a:solidFill>
                <a:prstClr val="black">
                  <a:hueOff val="0"/>
                  <a:satOff val="0"/>
                  <a:lumOff val="0"/>
                  <a:alphaOff val="0"/>
                </a:prstClr>
              </a:solidFill>
              <a:latin typeface="Times New Roman" pitchFamily="18" charset="0"/>
              <a:ea typeface="+mn-ea"/>
              <a:cs typeface="Times New Roman" pitchFamily="18" charset="0"/>
            </a:rPr>
            <a:t>Tăng cường công tác quản lý thu, tiếp tục hỗ trợ doanh nghiệp được hưởng các chính sách ưu đãi. </a:t>
          </a:r>
          <a:r>
            <a:rPr lang="vi-VN" altLang="zh-CN" sz="2400" b="0" kern="1200">
              <a:solidFill>
                <a:prstClr val="black">
                  <a:hueOff val="0"/>
                  <a:satOff val="0"/>
                  <a:lumOff val="0"/>
                  <a:alphaOff val="0"/>
                </a:prstClr>
              </a:solidFill>
              <a:latin typeface="Times New Roman" pitchFamily="18" charset="0"/>
              <a:ea typeface="+mn-ea"/>
              <a:cs typeface="Times New Roman" pitchFamily="18" charset="0"/>
              <a:sym typeface="+mn-lt"/>
            </a:rPr>
            <a:t>Thực hiện tăng thu đối với các lĩnh vực còn dư địa. </a:t>
          </a:r>
          <a:r>
            <a:rPr lang="en-US" sz="2400" b="0" kern="1200">
              <a:solidFill>
                <a:prstClr val="black">
                  <a:hueOff val="0"/>
                  <a:satOff val="0"/>
                  <a:lumOff val="0"/>
                  <a:alphaOff val="0"/>
                </a:prstClr>
              </a:solidFill>
              <a:latin typeface="Times New Roman" pitchFamily="18" charset="0"/>
              <a:ea typeface="+mn-ea"/>
              <a:cs typeface="Times New Roman" pitchFamily="18" charset="0"/>
            </a:rPr>
            <a:t>Phấn đấu tăng thu thuế so với dự toán được giao là 914 tỷ đồng. Đảm bảo chi ngân sách đúng tiêu chuẩn, định mức, tiết kiệm, hiệu quả. </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28052" y="67966"/>
        <a:ext cx="9811641" cy="1109394"/>
      </dsp:txXfrm>
    </dsp:sp>
    <dsp:sp modelId="{89164601-E0A1-4038-AED2-754D77EF4C41}">
      <dsp:nvSpPr>
        <dsp:cNvPr id="0" name=""/>
        <dsp:cNvSpPr/>
      </dsp:nvSpPr>
      <dsp:spPr>
        <a:xfrm rot="5400000">
          <a:off x="-220296" y="1694236"/>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a:t>6</a:t>
          </a:r>
          <a:endParaRPr lang="en-US" sz="2800" kern="1200" dirty="0"/>
        </a:p>
      </dsp:txBody>
      <dsp:txXfrm rot="-5400000">
        <a:off x="1" y="1987965"/>
        <a:ext cx="1028052" cy="440594"/>
      </dsp:txXfrm>
    </dsp:sp>
    <dsp:sp modelId="{594D2AB4-91B5-4F18-9ACA-1D51E359B741}">
      <dsp:nvSpPr>
        <dsp:cNvPr id="0" name=""/>
        <dsp:cNvSpPr/>
      </dsp:nvSpPr>
      <dsp:spPr>
        <a:xfrm rot="5400000">
          <a:off x="5486571" y="-2984579"/>
          <a:ext cx="954620" cy="987165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FontTx/>
            <a:buChar char="••"/>
          </a:pPr>
          <a:r>
            <a:rPr lang="it-IT"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a:t>
          </a:r>
          <a:r>
            <a:rPr lang="it-IT" sz="2400" b="0" kern="1200">
              <a:solidFill>
                <a:prstClr val="black">
                  <a:hueOff val="0"/>
                  <a:satOff val="0"/>
                  <a:lumOff val="0"/>
                  <a:alphaOff val="0"/>
                </a:prstClr>
              </a:solidFill>
              <a:latin typeface="Times New Roman" pitchFamily="18" charset="0"/>
              <a:ea typeface="+mn-ea"/>
              <a:cs typeface="Times New Roman" pitchFamily="18" charset="0"/>
            </a:rPr>
            <a:t>y mạnh giải ngân vốn đầu tư công, triển khai hiệu </a:t>
          </a:r>
          <a:r>
            <a:rPr lang="it-IT"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quả 03 Chương trình mục tiêu quốc gia. Kiên quyết điều hòa vốn đầu tư công từ CĐT chưa thực hiện được sang CĐT có nhu cầu bổ sung vốn</a:t>
          </a:r>
          <a:endParaRPr lang="en-US" sz="2400" b="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28053" y="1520540"/>
        <a:ext cx="9825056" cy="861418"/>
      </dsp:txXfrm>
    </dsp:sp>
    <dsp:sp modelId="{3DA4DBDD-86BF-4DC6-9D99-05C1C1BFB383}">
      <dsp:nvSpPr>
        <dsp:cNvPr id="0" name=""/>
        <dsp:cNvSpPr/>
      </dsp:nvSpPr>
      <dsp:spPr>
        <a:xfrm rot="5400000">
          <a:off x="-220296" y="3022821"/>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a:t>7</a:t>
          </a:r>
          <a:endParaRPr lang="en-US" sz="2800" kern="1200" dirty="0"/>
        </a:p>
      </dsp:txBody>
      <dsp:txXfrm rot="-5400000">
        <a:off x="1" y="3316550"/>
        <a:ext cx="1028052" cy="440594"/>
      </dsp:txXfrm>
    </dsp:sp>
    <dsp:sp modelId="{18D2B7CF-92DC-4C98-B7A8-681260E88B2C}">
      <dsp:nvSpPr>
        <dsp:cNvPr id="0" name=""/>
        <dsp:cNvSpPr/>
      </dsp:nvSpPr>
      <dsp:spPr>
        <a:xfrm rot="5400000">
          <a:off x="5495382" y="-1632301"/>
          <a:ext cx="936997" cy="9824273"/>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it-IT" sz="2400" kern="1200">
              <a:solidFill>
                <a:prstClr val="black">
                  <a:hueOff val="0"/>
                  <a:satOff val="0"/>
                  <a:lumOff val="0"/>
                  <a:alphaOff val="0"/>
                </a:prstClr>
              </a:solidFill>
              <a:latin typeface="Times New Roman" pitchFamily="18" charset="0"/>
              <a:ea typeface="+mn-ea"/>
              <a:cs typeface="Times New Roman" pitchFamily="18" charset="0"/>
            </a:rPr>
            <a:t>Tiếp tục chú trọng thực hiện đồng bộ các biện pháp phòng, chống</a:t>
          </a:r>
          <a:r>
            <a:rPr lang="vi-VN" sz="2400" kern="1200">
              <a:solidFill>
                <a:prstClr val="black">
                  <a:hueOff val="0"/>
                  <a:satOff val="0"/>
                  <a:lumOff val="0"/>
                  <a:alphaOff val="0"/>
                </a:prstClr>
              </a:solidFill>
              <a:latin typeface="Times New Roman" pitchFamily="18" charset="0"/>
              <a:ea typeface="+mn-ea"/>
              <a:cs typeface="Times New Roman" pitchFamily="18" charset="0"/>
            </a:rPr>
            <a:t> và tiêm vắc-xin phòng Covid-19. Đẩy mạnh các hoạt động </a:t>
          </a:r>
          <a:r>
            <a:rPr lang="it-IT" sz="2400" kern="1200">
              <a:solidFill>
                <a:prstClr val="black">
                  <a:hueOff val="0"/>
                  <a:satOff val="0"/>
                  <a:lumOff val="0"/>
                  <a:alphaOff val="0"/>
                </a:prstClr>
              </a:solidFill>
              <a:latin typeface="Times New Roman" pitchFamily="18" charset="0"/>
              <a:ea typeface="+mn-ea"/>
              <a:cs typeface="Times New Roman" pitchFamily="18" charset="0"/>
            </a:rPr>
            <a:t>trên các lĩnh vực y tế, giáo dục, văn hóa, thể dục thể thao...</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51744" y="2857077"/>
        <a:ext cx="9778533" cy="845517"/>
      </dsp:txXfrm>
    </dsp:sp>
    <dsp:sp modelId="{62D4FF5F-BB58-4DAC-9260-24E1A247C3C5}">
      <dsp:nvSpPr>
        <dsp:cNvPr id="0" name=""/>
        <dsp:cNvSpPr/>
      </dsp:nvSpPr>
      <dsp:spPr>
        <a:xfrm rot="5400000">
          <a:off x="-220296" y="4368679"/>
          <a:ext cx="1468646" cy="102805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kern="1200"/>
            <a:t>8</a:t>
          </a:r>
          <a:endParaRPr lang="en-US" sz="2800" kern="1200" dirty="0"/>
        </a:p>
      </dsp:txBody>
      <dsp:txXfrm rot="-5400000">
        <a:off x="1" y="4662408"/>
        <a:ext cx="1028052" cy="440594"/>
      </dsp:txXfrm>
    </dsp:sp>
    <dsp:sp modelId="{46F44EEA-00FF-478B-BA4D-FAA533FBEC40}">
      <dsp:nvSpPr>
        <dsp:cNvPr id="0" name=""/>
        <dsp:cNvSpPr/>
      </dsp:nvSpPr>
      <dsp:spPr>
        <a:xfrm rot="5400000">
          <a:off x="5477249" y="-292407"/>
          <a:ext cx="973263" cy="987165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just" defTabSz="1066800">
            <a:lnSpc>
              <a:spcPct val="90000"/>
            </a:lnSpc>
            <a:spcBef>
              <a:spcPct val="0"/>
            </a:spcBef>
            <a:spcAft>
              <a:spcPct val="15000"/>
            </a:spcAft>
            <a:buChar char="••"/>
          </a:pPr>
          <a:r>
            <a:rPr lang="it-IT" sz="2400" kern="1200">
              <a:solidFill>
                <a:prstClr val="black">
                  <a:hueOff val="0"/>
                  <a:satOff val="0"/>
                  <a:lumOff val="0"/>
                  <a:alphaOff val="0"/>
                </a:prstClr>
              </a:solidFill>
              <a:latin typeface="Times New Roman" pitchFamily="18" charset="0"/>
              <a:ea typeface="+mn-ea"/>
              <a:cs typeface="Times New Roman" pitchFamily="18" charset="0"/>
            </a:rPr>
            <a:t>Tiếp tục chỉ đạo nâng cao chất lượng, hiệu quả hoạt động của hệ thống chính quyền các cấp. Đẩy mạnh cải cách thủ tục hành chính</a:t>
          </a:r>
          <a:r>
            <a:rPr lang="vi-VN" sz="2400" kern="1200">
              <a:solidFill>
                <a:prstClr val="black">
                  <a:hueOff val="0"/>
                  <a:satOff val="0"/>
                  <a:lumOff val="0"/>
                  <a:alphaOff val="0"/>
                </a:prstClr>
              </a:solidFill>
              <a:latin typeface="Times New Roman" pitchFamily="18" charset="0"/>
              <a:ea typeface="+mn-ea"/>
              <a:cs typeface="Times New Roman" pitchFamily="18" charset="0"/>
            </a:rPr>
            <a:t>. </a:t>
          </a:r>
          <a:r>
            <a:rPr lang="vi-VN" sz="2400" kern="1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ực hiện có hiệu quả các chương trình, kế hoạch về quốc phòng, an ninh, phòng chống tội phạm</a:t>
          </a:r>
          <a:endParaRPr lang="en-US" sz="2400" kern="1200" dirty="0">
            <a:solidFill>
              <a:prstClr val="black">
                <a:hueOff val="0"/>
                <a:satOff val="0"/>
                <a:lumOff val="0"/>
                <a:alphaOff val="0"/>
              </a:prstClr>
            </a:solidFill>
            <a:latin typeface="Times New Roman" pitchFamily="18" charset="0"/>
            <a:ea typeface="+mn-ea"/>
            <a:cs typeface="Times New Roman" pitchFamily="18" charset="0"/>
          </a:endParaRPr>
        </a:p>
      </dsp:txBody>
      <dsp:txXfrm rot="-5400000">
        <a:off x="1028053" y="4204300"/>
        <a:ext cx="9824146" cy="87824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5/8/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5/8/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1201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9058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1258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2163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457200" marR="0" lvl="0" indent="-298450" algn="just" defTabSz="914400" rtl="0" eaLnBrk="1" fontAlgn="auto" latinLnBrk="0" hangingPunct="1">
              <a:lnSpc>
                <a:spcPct val="150000"/>
              </a:lnSpc>
              <a:spcBef>
                <a:spcPts val="200"/>
              </a:spcBef>
              <a:spcAft>
                <a:spcPts val="200"/>
              </a:spcAft>
              <a:buClr>
                <a:srgbClr val="000000"/>
              </a:buClr>
              <a:buSzPts val="1100"/>
              <a:buFont typeface="Arial"/>
              <a:buChar char="●"/>
              <a:tabLst/>
              <a:defRPr/>
            </a:pPr>
            <a:r>
              <a:rPr lang="de-DE" sz="1200" b="1" i="0" dirty="0">
                <a:effectLst/>
                <a:latin typeface="Times New Roman" panose="02020603050405020304" pitchFamily="18" charset="0"/>
                <a:ea typeface="Times New Roman" panose="02020603050405020304" pitchFamily="18" charset="0"/>
                <a:cs typeface="Times New Roman" panose="02020603050405020304" pitchFamily="18" charset="0"/>
              </a:rPr>
              <a:t>Tổng vốn đầu tư nước ngoài </a:t>
            </a:r>
            <a:r>
              <a:rPr lang="de-DE" sz="1200" i="0" dirty="0">
                <a:effectLst/>
                <a:latin typeface="Times New Roman" panose="02020603050405020304" pitchFamily="18" charset="0"/>
                <a:ea typeface="Times New Roman" panose="02020603050405020304" pitchFamily="18" charset="0"/>
                <a:cs typeface="Times New Roman" panose="02020603050405020304" pitchFamily="18" charset="0"/>
              </a:rPr>
              <a:t>đăng ký vào Việt Nam</a:t>
            </a:r>
            <a:r>
              <a:rPr lang="vi-VN" sz="1200" i="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ính đến ngày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0/12/2022</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bao gồm: Vốn đăng ký cấp mới, vốn đăng ký điều chỉnh và giá trị góp vốn, mua cổ phần của nhà đầu tư nước ngoài đạ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7,72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tỷ 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 11%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a:t>
            </a:r>
            <a:r>
              <a:rPr lang="vi-VN" sz="1200" dirty="0">
                <a:effectLst/>
                <a:latin typeface="Times New Roman" panose="02020603050405020304" pitchFamily="18" charset="0"/>
                <a:ea typeface="Times New Roman" panose="02020603050405020304" pitchFamily="18" charset="0"/>
                <a:cs typeface="Times New Roman" panose="02020603050405020304" pitchFamily="18" charset="0"/>
              </a:rPr>
              <a:t> Cụ thể:</a:t>
            </a: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cấp mới có hơn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2 </a:t>
            </a:r>
            <a:r>
              <a:rPr lang="de-DE" sz="1200" b="0" spc="-20" dirty="0">
                <a:effectLst/>
                <a:latin typeface="Times New Roman" panose="02020603050405020304" pitchFamily="18" charset="0"/>
                <a:ea typeface="Times New Roman" panose="02020603050405020304" pitchFamily="18" charset="0"/>
                <a:cs typeface="Times New Roman" panose="02020603050405020304" pitchFamily="18" charset="0"/>
              </a:rPr>
              <a:t>nghìn</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dự án được cấp phép với số vốn đăng ký đạt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12,45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tỷ USD,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tăng 17,1%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về số dự án và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giảm 18,4%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về số vốn đăng ký so với năm trước;</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điều chỉnh có hơ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ghì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lượt dự án đã cấp phép từ các năm trước đăng ký điều chỉnh vốn đầu tư tăng thêm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0,12 tỷ 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12,2%</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góp vốn, mua cổ phần của nhà đầu tư nước ngoài có </a:t>
            </a:r>
            <a:r>
              <a:rPr lang="en-US" sz="1200" dirty="0" err="1">
                <a:effectLst/>
                <a:latin typeface="Times New Roman" panose="02020603050405020304" pitchFamily="18" charset="0"/>
                <a:ea typeface="Times New Roman" panose="02020603050405020304" pitchFamily="18" charset="0"/>
                <a:cs typeface="Times New Roman" panose="02020603050405020304" pitchFamily="18" charset="0"/>
              </a:rPr>
              <a:t>gần</a:t>
            </a:r>
            <a:r>
              <a:rPr lang="en-US"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3</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6</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vi-VN" sz="1200" b="0" dirty="0">
                <a:effectLst/>
                <a:latin typeface="Times New Roman" panose="02020603050405020304" pitchFamily="18" charset="0"/>
                <a:ea typeface="Times New Roman" panose="02020603050405020304" pitchFamily="18" charset="0"/>
                <a:cs typeface="Times New Roman" panose="02020603050405020304" pitchFamily="18" charset="0"/>
              </a:rPr>
              <a:t>nghìn lượt</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ới tổng giá trị góp vố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5,15 tỷ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 25,2%</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5.xml"/><Relationship Id="rId4" Type="http://schemas.openxmlformats.org/officeDocument/2006/relationships/tags" Target="../tags/tag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5/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5/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5/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xmlns=""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xmlns=""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xmlns="" id="{A76312C5-E0E5-4523-BCA1-3FAC43AF8F7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5/8/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5/8/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5/8/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5/8/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5/8/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5/8/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5/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5/8/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5/8/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5/8/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5/8/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5/8/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xmlns=""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xmlns=""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xmlns=""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xmlns="" id="{2A305796-4420-41B5-A522-C826E0D23B4A}"/>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72534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5/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5/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5/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5/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5/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5/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5/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5/8/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5/8/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3" r:id="rId1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25.xml"/><Relationship Id="rId1" Type="http://schemas.openxmlformats.org/officeDocument/2006/relationships/vmlDrawing" Target="../drawings/vmlDrawing8.v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8" Type="http://schemas.openxmlformats.org/officeDocument/2006/relationships/package" Target="../embeddings/Microsoft_Excel_Worksheet3.xlsx"/><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slideLayout" Target="../slideLayouts/slideLayout25.xml"/><Relationship Id="rId1" Type="http://schemas.openxmlformats.org/officeDocument/2006/relationships/vmlDrawing" Target="../drawings/vmlDrawing9.v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 Id="rId9" Type="http://schemas.openxmlformats.org/officeDocument/2006/relationships/image" Target="../media/image13.emf"/></Relationships>
</file>

<file path=ppt/slides/_rels/slide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7.jp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26.emf"/><Relationship Id="rId4" Type="http://schemas.openxmlformats.org/officeDocument/2006/relationships/image" Target="../media/image25.jpg"/></Relationships>
</file>

<file path=ppt/slides/_rels/slide2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15.xml"/><Relationship Id="rId1" Type="http://schemas.openxmlformats.org/officeDocument/2006/relationships/vmlDrawing" Target="../drawings/vmlDrawing10.vml"/><Relationship Id="rId4" Type="http://schemas.openxmlformats.org/officeDocument/2006/relationships/image" Target="../media/image30.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e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png"/><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37.jpg"/><Relationship Id="rId2" Type="http://schemas.openxmlformats.org/officeDocument/2006/relationships/tags" Target="../tags/tag7.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Microsoft_Excel_97-2003_Worksheet1.xls"/></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5.xml"/><Relationship Id="rId1" Type="http://schemas.openxmlformats.org/officeDocument/2006/relationships/vmlDrawing" Target="../drawings/vmlDrawing7.v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xmlns=""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xmlns="" id="{6BEB7F04-DEC3-47AD-A430-C67E8368B8AA}"/>
              </a:ext>
            </a:extLst>
          </p:cNvPr>
          <p:cNvGrpSpPr/>
          <p:nvPr/>
        </p:nvGrpSpPr>
        <p:grpSpPr>
          <a:xfrm>
            <a:off x="1" y="96451"/>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xmlns=""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dirty="0">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xmlns=""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xmlns=""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xmlns=""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xmlns=""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xmlns="" id="{E508593D-8C0D-4163-9A4A-7D6922F8A0DF}"/>
              </a:ext>
            </a:extLst>
          </p:cNvPr>
          <p:cNvSpPr/>
          <p:nvPr/>
        </p:nvSpPr>
        <p:spPr>
          <a:xfrm>
            <a:off x="112948" y="2838847"/>
            <a:ext cx="8762604" cy="954107"/>
          </a:xfrm>
          <a:prstGeom prst="rect">
            <a:avLst/>
          </a:prstGeom>
        </p:spPr>
        <p:txBody>
          <a:bodyPr wrap="square">
            <a:spAutoFit/>
          </a:bodyPr>
          <a:lstStyle/>
          <a:p>
            <a:pPr algn="ctr"/>
            <a:r>
              <a:rPr lang="vi-VN" sz="2800" b="1">
                <a:solidFill>
                  <a:schemeClr val="bg1"/>
                </a:solidFill>
                <a:latin typeface="Times New Roman" panose="02020603050405020304" pitchFamily="18" charset="0"/>
                <a:cs typeface="Times New Roman" panose="02020603050405020304" pitchFamily="18" charset="0"/>
              </a:rPr>
              <a:t>BÁO CÁO TÌNH HÌNH KINH TẾ-XÃ HỘI THÁNG 4</a:t>
            </a:r>
          </a:p>
          <a:p>
            <a:pPr algn="ctr"/>
            <a:r>
              <a:rPr lang="vi-VN" sz="2800" b="1">
                <a:solidFill>
                  <a:schemeClr val="bg1"/>
                </a:solidFill>
                <a:latin typeface="Times New Roman" panose="02020603050405020304" pitchFamily="18" charset="0"/>
                <a:cs typeface="Times New Roman" panose="02020603050405020304" pitchFamily="18" charset="0"/>
              </a:rPr>
              <a:t>VÀ NHIỆM VỤ TRỌNG TÂM THÁNG 5 NĂM 2023</a:t>
            </a:r>
          </a:p>
        </p:txBody>
      </p:sp>
      <p:pic>
        <p:nvPicPr>
          <p:cNvPr id="23" name="Picture 22">
            <a:extLst>
              <a:ext uri="{FF2B5EF4-FFF2-40B4-BE49-F238E27FC236}">
                <a16:creationId xmlns:a16="http://schemas.microsoft.com/office/drawing/2014/main" xmlns=""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
        <p:nvSpPr>
          <p:cNvPr id="27" name="Rectangle 26">
            <a:extLst>
              <a:ext uri="{FF2B5EF4-FFF2-40B4-BE49-F238E27FC236}">
                <a16:creationId xmlns:a16="http://schemas.microsoft.com/office/drawing/2014/main" xmlns="" id="{87251008-0654-48EC-B85B-8EA2BB576990}"/>
              </a:ext>
            </a:extLst>
          </p:cNvPr>
          <p:cNvSpPr/>
          <p:nvPr/>
        </p:nvSpPr>
        <p:spPr>
          <a:xfrm>
            <a:off x="1820412" y="5966044"/>
            <a:ext cx="4706224" cy="379591"/>
          </a:xfrm>
          <a:prstGeom prst="rect">
            <a:avLst/>
          </a:prstGeom>
        </p:spPr>
        <p:txBody>
          <a:bodyPr wrap="square">
            <a:spAutoFit/>
          </a:bodyPr>
          <a:lstStyle/>
          <a:p>
            <a:pPr algn="ctr"/>
            <a:r>
              <a:rPr lang="en-US" sz="2800" i="1" baseline="30000" dirty="0" err="1">
                <a:solidFill>
                  <a:schemeClr val="bg1"/>
                </a:solidFill>
                <a:latin typeface="Times New Roman" panose="02020603050405020304" pitchFamily="18" charset="0"/>
                <a:cs typeface="Times New Roman" panose="02020603050405020304" pitchFamily="18" charset="0"/>
              </a:rPr>
              <a:t>Bình</a:t>
            </a:r>
            <a:r>
              <a:rPr lang="en-US" sz="2800" i="1" baseline="30000" dirty="0">
                <a:solidFill>
                  <a:schemeClr val="bg1"/>
                </a:solidFill>
                <a:latin typeface="Times New Roman" panose="02020603050405020304" pitchFamily="18" charset="0"/>
                <a:cs typeface="Times New Roman" panose="02020603050405020304" pitchFamily="18" charset="0"/>
              </a:rPr>
              <a:t> </a:t>
            </a:r>
            <a:r>
              <a:rPr lang="en-US" sz="2800" i="1" baseline="30000" dirty="0" err="1">
                <a:solidFill>
                  <a:schemeClr val="bg1"/>
                </a:solidFill>
                <a:latin typeface="Times New Roman" panose="02020603050405020304" pitchFamily="18" charset="0"/>
                <a:cs typeface="Times New Roman" panose="02020603050405020304" pitchFamily="18" charset="0"/>
              </a:rPr>
              <a:t>Định</a:t>
            </a:r>
            <a:r>
              <a:rPr lang="en-US" sz="2800" i="1" baseline="30000" dirty="0">
                <a:solidFill>
                  <a:schemeClr val="bg1"/>
                </a:solidFill>
                <a:latin typeface="Times New Roman" panose="02020603050405020304" pitchFamily="18" charset="0"/>
                <a:cs typeface="Times New Roman" panose="02020603050405020304" pitchFamily="18" charset="0"/>
              </a:rPr>
              <a:t>, </a:t>
            </a:r>
            <a:r>
              <a:rPr lang="en-US" sz="2800" i="1" baseline="30000" dirty="0" err="1">
                <a:solidFill>
                  <a:schemeClr val="bg1"/>
                </a:solidFill>
                <a:latin typeface="Times New Roman" panose="02020603050405020304" pitchFamily="18" charset="0"/>
                <a:cs typeface="Times New Roman" panose="02020603050405020304" pitchFamily="18" charset="0"/>
              </a:rPr>
              <a:t>tháng</a:t>
            </a:r>
            <a:r>
              <a:rPr lang="en-US" sz="2800" i="1" baseline="30000" dirty="0">
                <a:solidFill>
                  <a:schemeClr val="bg1"/>
                </a:solidFill>
                <a:latin typeface="Times New Roman" panose="02020603050405020304" pitchFamily="18" charset="0"/>
                <a:cs typeface="Times New Roman" panose="02020603050405020304" pitchFamily="18" charset="0"/>
              </a:rPr>
              <a:t> 5 </a:t>
            </a:r>
            <a:r>
              <a:rPr lang="en-US" sz="2800" i="1" baseline="30000" dirty="0" err="1">
                <a:solidFill>
                  <a:schemeClr val="bg1"/>
                </a:solidFill>
                <a:latin typeface="Times New Roman" panose="02020603050405020304" pitchFamily="18" charset="0"/>
                <a:cs typeface="Times New Roman" panose="02020603050405020304" pitchFamily="18" charset="0"/>
              </a:rPr>
              <a:t>năm</a:t>
            </a:r>
            <a:r>
              <a:rPr lang="en-US" sz="2800" i="1" baseline="30000" dirty="0">
                <a:solidFill>
                  <a:schemeClr val="bg1"/>
                </a:solidFill>
                <a:latin typeface="Times New Roman" panose="02020603050405020304" pitchFamily="18" charset="0"/>
                <a:cs typeface="Times New Roman" panose="02020603050405020304" pitchFamily="18" charset="0"/>
              </a:rPr>
              <a:t> 2023</a:t>
            </a:r>
          </a:p>
        </p:txBody>
      </p:sp>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01DC26C3-E6F4-C27A-8624-3A65D81B6008}"/>
              </a:ext>
            </a:extLst>
          </p:cNvPr>
          <p:cNvSpPr/>
          <p:nvPr/>
        </p:nvSpPr>
        <p:spPr>
          <a:xfrm>
            <a:off x="905890" y="449398"/>
            <a:ext cx="2840778"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a) </a:t>
            </a:r>
            <a:r>
              <a:rPr lang="en-US" sz="2800" b="1" spc="-20" dirty="0" err="1">
                <a:solidFill>
                  <a:srgbClr val="100717"/>
                </a:solidFill>
                <a:latin typeface="Times New Roman" panose="02020603050405020304" pitchFamily="18" charset="0"/>
                <a:cs typeface="Times New Roman" panose="02020603050405020304" pitchFamily="18" charset="0"/>
              </a:rPr>
              <a:t>Vụ</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Xuân</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xmlns="" id="{01DC26C3-E6F4-C27A-8624-3A65D81B6008}"/>
              </a:ext>
            </a:extLst>
          </p:cNvPr>
          <p:cNvSpPr/>
          <p:nvPr/>
        </p:nvSpPr>
        <p:spPr>
          <a:xfrm>
            <a:off x="3154187" y="1142423"/>
            <a:ext cx="6385081" cy="523220"/>
          </a:xfrm>
          <a:prstGeom prst="rect">
            <a:avLst/>
          </a:prstGeom>
        </p:spPr>
        <p:txBody>
          <a:bodyPr wrap="none">
            <a:spAutoFit/>
          </a:bodyPr>
          <a:lstStyle/>
          <a:p>
            <a:pPr marL="12700" defTabSz="914400">
              <a:spcBef>
                <a:spcPts val="300"/>
              </a:spcBef>
              <a:defRPr/>
            </a:pPr>
            <a:r>
              <a:rPr lang="en-US" sz="2800" b="1" spc="-20" dirty="0" err="1">
                <a:solidFill>
                  <a:srgbClr val="100717"/>
                </a:solidFill>
                <a:latin typeface="Times New Roman" panose="02020603050405020304" pitchFamily="18" charset="0"/>
                <a:cs typeface="Times New Roman" panose="02020603050405020304" pitchFamily="18" charset="0"/>
              </a:rPr>
              <a:t>Diệ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í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ồ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lúa</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heo</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ừ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ịa</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phươ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2513248712"/>
              </p:ext>
            </p:extLst>
          </p:nvPr>
        </p:nvGraphicFramePr>
        <p:xfrm>
          <a:off x="128588" y="1930400"/>
          <a:ext cx="11934825" cy="1885950"/>
        </p:xfrm>
        <a:graphic>
          <a:graphicData uri="http://schemas.openxmlformats.org/presentationml/2006/ole">
            <mc:AlternateContent xmlns:mc="http://schemas.openxmlformats.org/markup-compatibility/2006">
              <mc:Choice xmlns:v="urn:schemas-microsoft-com:vml" Requires="v">
                <p:oleObj spid="_x0000_s8198" name="Worksheet" r:id="rId3" imgW="11934720" imgH="1885830" progId="Excel.Sheet.12">
                  <p:embed/>
                </p:oleObj>
              </mc:Choice>
              <mc:Fallback>
                <p:oleObj name="Worksheet" r:id="rId3" imgW="11934720" imgH="1885830" progId="Excel.Sheet.12">
                  <p:embed/>
                  <p:pic>
                    <p:nvPicPr>
                      <p:cNvPr id="3"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588" y="1930400"/>
                        <a:ext cx="11934825"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14887326"/>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01DC26C3-E6F4-C27A-8624-3A65D81B6008}"/>
              </a:ext>
            </a:extLst>
          </p:cNvPr>
          <p:cNvSpPr/>
          <p:nvPr/>
        </p:nvSpPr>
        <p:spPr>
          <a:xfrm>
            <a:off x="905890" y="696767"/>
            <a:ext cx="2280945"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b) </a:t>
            </a:r>
            <a:r>
              <a:rPr lang="en-US" sz="2800" b="1" spc="-20" dirty="0" err="1">
                <a:solidFill>
                  <a:srgbClr val="100717"/>
                </a:solidFill>
                <a:latin typeface="Times New Roman" panose="02020603050405020304" pitchFamily="18" charset="0"/>
                <a:cs typeface="Times New Roman" panose="02020603050405020304" pitchFamily="18" charset="0"/>
              </a:rPr>
              <a:t>Vụ</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Hè</a:t>
            </a:r>
            <a:r>
              <a:rPr lang="en-US" sz="2800" b="1" spc="-20" dirty="0">
                <a:solidFill>
                  <a:srgbClr val="100717"/>
                </a:solidFill>
                <a:latin typeface="Times New Roman" panose="02020603050405020304" pitchFamily="18" charset="0"/>
                <a:cs typeface="Times New Roman" panose="02020603050405020304" pitchFamily="18" charset="0"/>
              </a:rPr>
              <a:t> Thu</a:t>
            </a:r>
          </a:p>
        </p:txBody>
      </p:sp>
      <p:graphicFrame>
        <p:nvGraphicFramePr>
          <p:cNvPr id="5" name="Table 4">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1447139663"/>
              </p:ext>
            </p:extLst>
          </p:nvPr>
        </p:nvGraphicFramePr>
        <p:xfrm>
          <a:off x="638064" y="467908"/>
          <a:ext cx="11244267" cy="5053672"/>
        </p:xfrm>
        <a:graphic>
          <a:graphicData uri="http://schemas.openxmlformats.org/drawingml/2006/table">
            <a:tbl>
              <a:tblPr firstRow="1" bandRow="1"/>
              <a:tblGrid>
                <a:gridCol w="11244267">
                  <a:extLst>
                    <a:ext uri="{9D8B030D-6E8A-4147-A177-3AD203B41FA5}">
                      <a16:colId xmlns:a16="http://schemas.microsoft.com/office/drawing/2014/main" xmlns="" val="3655493598"/>
                    </a:ext>
                  </a:extLst>
                </a:gridCol>
              </a:tblGrid>
              <a:tr h="505367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smtClean="0">
                          <a:solidFill>
                            <a:schemeClr val="dk1"/>
                          </a:solidFill>
                          <a:effectLst/>
                          <a:latin typeface="Times New Roman" panose="02020603050405020304" pitchFamily="18" charset="0"/>
                          <a:ea typeface="+mn-ea"/>
                          <a:cs typeface="Times New Roman" panose="02020603050405020304" pitchFamily="18" charset="0"/>
                        </a:rPr>
                        <a:t>Kế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hoạch sản xuất lúa là 42.120 ha (lúa Hè: 5.550 ha; lúa Thu: 36.570 ha). </a:t>
                      </a:r>
                      <a:r>
                        <a:rPr lang="vi-VN" sz="2400" b="0" kern="1200" dirty="0" smtClean="0">
                          <a:solidFill>
                            <a:schemeClr val="dk1"/>
                          </a:solidFill>
                          <a:effectLst/>
                          <a:latin typeface="Times New Roman" panose="02020603050405020304" pitchFamily="18" charset="0"/>
                          <a:ea typeface="+mn-ea"/>
                          <a:cs typeface="Times New Roman" panose="02020603050405020304" pitchFamily="18" charset="0"/>
                        </a:rPr>
                        <a:t>Đến nay đã gieo sạ được 9.192 ha (lúa Hè 5.361 ha; lúa Thu 3.831 ha), đạt 21,8% so kế hoạch; hiện nông dân đang tiếp tục gieo sạ</a:t>
                      </a:r>
                      <a:r>
                        <a:rPr lang="en-US" sz="2400" b="0" kern="1200" dirty="0" smtClean="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smtClean="0">
                          <a:solidFill>
                            <a:schemeClr val="dk1"/>
                          </a:solidFill>
                          <a:effectLst/>
                          <a:latin typeface="Times New Roman" panose="02020603050405020304" pitchFamily="18" charset="0"/>
                          <a:ea typeface="+mn-ea"/>
                          <a:cs typeface="Times New Roman" panose="02020603050405020304" pitchFamily="18" charset="0"/>
                        </a:rPr>
                        <a:t>Diện tích </a:t>
                      </a:r>
                      <a:r>
                        <a:rPr lang="en-US" sz="2400" b="0" kern="1200" dirty="0" err="1" smtClean="0">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smtClean="0">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smtClean="0">
                          <a:solidFill>
                            <a:schemeClr val="dk1"/>
                          </a:solidFill>
                          <a:effectLst/>
                          <a:latin typeface="Times New Roman" panose="02020603050405020304" pitchFamily="18" charset="0"/>
                          <a:ea typeface="+mn-ea"/>
                          <a:cs typeface="Times New Roman" panose="02020603050405020304" pitchFamily="18" charset="0"/>
                        </a:rPr>
                        <a:t>cạn</a:t>
                      </a:r>
                      <a:r>
                        <a:rPr lang="vi-VN" sz="2400" b="0" kern="1200" dirty="0" smtClean="0">
                          <a:solidFill>
                            <a:schemeClr val="dk1"/>
                          </a:solidFill>
                          <a:effectLst/>
                          <a:latin typeface="Times New Roman" panose="02020603050405020304" pitchFamily="18" charset="0"/>
                          <a:ea typeface="+mn-ea"/>
                          <a:cs typeface="Times New Roman" panose="02020603050405020304" pitchFamily="18" charset="0"/>
                        </a:rPr>
                        <a:t>: Cây ngô 1.010 ha/3.506 ha (đạt 28,8%); cây lạc 765 ha/1.796 ha (đạt 42,6%); rau các loại 1.315 ha/5.209 ha (đạt 25,2%); cây mè 1.115 ha/2.936 ha (đạt 38%)</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spTree>
    <p:extLst>
      <p:ext uri="{BB962C8B-B14F-4D97-AF65-F5344CB8AC3E}">
        <p14:creationId xmlns:p14="http://schemas.microsoft.com/office/powerpoint/2010/main" val="909716554"/>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01DC26C3-E6F4-C27A-8624-3A65D81B6008}"/>
              </a:ext>
            </a:extLst>
          </p:cNvPr>
          <p:cNvSpPr/>
          <p:nvPr/>
        </p:nvSpPr>
        <p:spPr>
          <a:xfrm>
            <a:off x="1214983" y="972618"/>
            <a:ext cx="486864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c) </a:t>
            </a:r>
            <a:r>
              <a:rPr lang="en-US" sz="2800" b="1" spc="-20" dirty="0" err="1">
                <a:solidFill>
                  <a:srgbClr val="100717"/>
                </a:solidFill>
                <a:latin typeface="Times New Roman" panose="02020603050405020304" pitchFamily="18" charset="0"/>
                <a:cs typeface="Times New Roman" panose="02020603050405020304" pitchFamily="18" charset="0"/>
              </a:rPr>
              <a:t>Chuyể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ổ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ơ</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ấ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â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ồ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352816098"/>
              </p:ext>
            </p:extLst>
          </p:nvPr>
        </p:nvGraphicFramePr>
        <p:xfrm>
          <a:off x="676701" y="1481070"/>
          <a:ext cx="11244267" cy="4022000"/>
        </p:xfrm>
        <a:graphic>
          <a:graphicData uri="http://schemas.openxmlformats.org/drawingml/2006/table">
            <a:tbl>
              <a:tblPr firstRow="1" bandRow="1"/>
              <a:tblGrid>
                <a:gridCol w="11244267">
                  <a:extLst>
                    <a:ext uri="{9D8B030D-6E8A-4147-A177-3AD203B41FA5}">
                      <a16:colId xmlns:a16="http://schemas.microsoft.com/office/drawing/2014/main" xmlns=""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i="1" kern="1200" dirty="0">
                          <a:solidFill>
                            <a:schemeClr val="dk1"/>
                          </a:solidFill>
                          <a:effectLst/>
                          <a:latin typeface="Times New Roman" panose="02020603050405020304" pitchFamily="18" charset="0"/>
                          <a:ea typeface="+mn-ea"/>
                          <a:cs typeface="Times New Roman" panose="02020603050405020304" pitchFamily="18" charset="0"/>
                        </a:rPr>
                        <a:t>Về chuyển đổi cơ cấu cây trồng</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Tổng diện tích chuyển đổi cơ cấu cây trồng ước đạt 1.504 ha, trong đó: Tây Sơn 685 ha, Hoài Ân 241 ha, Phù Cát 575 ha...</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Đã chuyển đổi sang các cây trồng như: lạc 864 ha, rau màu 303 ha, ngô 103 ha..., đạt 56,9% so kế hoạch năm. Trong đó, chuyển đổi trên đất lúa 918 ha, đạt 52,9% kế hoạch năm; chuyển đổi trên đất trồng sắn 531 ha, đạt 69,3% kế hoạch năm và chuyển đổi trên đất trồng mía 55 ha, đạt 38,7% kế hoạch năm</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spTree>
    <p:extLst>
      <p:ext uri="{BB962C8B-B14F-4D97-AF65-F5344CB8AC3E}">
        <p14:creationId xmlns:p14="http://schemas.microsoft.com/office/powerpoint/2010/main" val="964652449"/>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495295729"/>
              </p:ext>
            </p:extLst>
          </p:nvPr>
        </p:nvGraphicFramePr>
        <p:xfrm>
          <a:off x="268506" y="1646314"/>
          <a:ext cx="6163016" cy="1981843"/>
        </p:xfrm>
        <a:graphic>
          <a:graphicData uri="http://schemas.openxmlformats.org/drawingml/2006/table">
            <a:tbl>
              <a:tblPr firstRow="1" bandRow="1"/>
              <a:tblGrid>
                <a:gridCol w="6163016">
                  <a:extLst>
                    <a:ext uri="{9D8B030D-6E8A-4147-A177-3AD203B41FA5}">
                      <a16:colId xmlns:a16="http://schemas.microsoft.com/office/drawing/2014/main" xmlns="" val="3655493598"/>
                    </a:ext>
                  </a:extLst>
                </a:gridCol>
              </a:tblGrid>
              <a:tr h="19818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ầ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ặ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ẽ</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à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ò</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quả</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qua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xảy</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r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ầm</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pic>
        <p:nvPicPr>
          <p:cNvPr id="30" name="Picture 29" descr="Chickens roaming on grass">
            <a:extLst>
              <a:ext uri="{FF2B5EF4-FFF2-40B4-BE49-F238E27FC236}">
                <a16:creationId xmlns:a16="http://schemas.microsoft.com/office/drawing/2014/main" xmlns="" id="{08AE9AC3-FD57-47BC-AF03-5B008563EF4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568213" y="4699946"/>
            <a:ext cx="2565588" cy="1910256"/>
          </a:xfrm>
          <a:prstGeom prst="rect">
            <a:avLst/>
          </a:prstGeom>
        </p:spPr>
      </p:pic>
      <p:pic>
        <p:nvPicPr>
          <p:cNvPr id="31" name="Picture 30" descr="Litter of piglets huddled on ground lined with straw">
            <a:extLst>
              <a:ext uri="{FF2B5EF4-FFF2-40B4-BE49-F238E27FC236}">
                <a16:creationId xmlns:a16="http://schemas.microsoft.com/office/drawing/2014/main" xmlns="" id="{71CE52F5-FFC8-14D4-FBA2-3FC98A85CCC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839133" y="4663583"/>
            <a:ext cx="2736867" cy="1955331"/>
          </a:xfrm>
          <a:prstGeom prst="rect">
            <a:avLst/>
          </a:prstGeom>
        </p:spPr>
      </p:pic>
      <p:pic>
        <p:nvPicPr>
          <p:cNvPr id="32" name="Picture 31" descr="A dirt road leading to a building&#10;&#10;Description automatically generated with medium confidence">
            <a:extLst>
              <a:ext uri="{FF2B5EF4-FFF2-40B4-BE49-F238E27FC236}">
                <a16:creationId xmlns:a16="http://schemas.microsoft.com/office/drawing/2014/main" xmlns="" id="{D60AE9D0-2656-F431-EBC5-CFC3173546E1}"/>
              </a:ext>
            </a:extLst>
          </p:cNvPr>
          <p:cNvPicPr>
            <a:picLocks noChangeAspect="1"/>
          </p:cNvPicPr>
          <p:nvPr/>
        </p:nvPicPr>
        <p:blipFill>
          <a:blip r:embed="rId5"/>
          <a:stretch>
            <a:fillRect/>
          </a:stretch>
        </p:blipFill>
        <p:spPr>
          <a:xfrm>
            <a:off x="6831632" y="2585183"/>
            <a:ext cx="5281293" cy="2087215"/>
          </a:xfrm>
          <a:prstGeom prst="rect">
            <a:avLst/>
          </a:prstGeom>
        </p:spPr>
      </p:pic>
      <p:sp>
        <p:nvSpPr>
          <p:cNvPr id="33" name="Rectangle: Diagonal Corners Rounded 32">
            <a:extLst>
              <a:ext uri="{FF2B5EF4-FFF2-40B4-BE49-F238E27FC236}">
                <a16:creationId xmlns:a16="http://schemas.microsoft.com/office/drawing/2014/main" xmlns="" id="{0959055D-1A0E-234C-9864-D6D0F9E441B4}"/>
              </a:ext>
            </a:extLst>
          </p:cNvPr>
          <p:cNvSpPr>
            <a:spLocks/>
          </p:cNvSpPr>
          <p:nvPr/>
        </p:nvSpPr>
        <p:spPr>
          <a:xfrm>
            <a:off x="6752557" y="1399717"/>
            <a:ext cx="5439443" cy="863088"/>
          </a:xfrm>
          <a:prstGeom prst="round2DiagRect">
            <a:avLst/>
          </a:prstGeom>
          <a:solidFill>
            <a:schemeClr val="accent1">
              <a:lumMod val="50000"/>
            </a:schemeClr>
          </a:solidFill>
          <a:ln w="19050">
            <a:solidFill>
              <a:schemeClr val="bg2">
                <a:lumMod val="20000"/>
                <a:lumOff val="80000"/>
              </a:schemeClr>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67" b="1" dirty="0" err="1">
                <a:solidFill>
                  <a:schemeClr val="bg1"/>
                </a:solidFill>
                <a:ea typeface="Times New Roman" panose="02020603050405020304" pitchFamily="18" charset="0"/>
              </a:rPr>
              <a:t>Số</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lượng</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gia</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súc</a:t>
            </a:r>
            <a:r>
              <a:rPr lang="en-US" sz="1467" b="1" dirty="0">
                <a:solidFill>
                  <a:schemeClr val="bg1"/>
                </a:solidFill>
                <a:ea typeface="Times New Roman" panose="02020603050405020304" pitchFamily="18" charset="0"/>
              </a:rPr>
              <a:t>, </a:t>
            </a:r>
            <a:r>
              <a:rPr lang="en-US" sz="1467" b="1" dirty="0" err="1">
                <a:solidFill>
                  <a:schemeClr val="bg1"/>
                </a:solidFill>
                <a:ea typeface="Times New Roman" panose="02020603050405020304" pitchFamily="18" charset="0"/>
              </a:rPr>
              <a:t>gia</a:t>
            </a:r>
            <a:r>
              <a:rPr lang="en-US" sz="1467" b="1" dirty="0">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cầm</a:t>
            </a:r>
            <a:r>
              <a:rPr lang="en-US" sz="1467" b="1">
                <a:solidFill>
                  <a:schemeClr val="bg1"/>
                </a:solidFill>
                <a:ea typeface="Times New Roman" panose="02020603050405020304" pitchFamily="18" charset="0"/>
              </a:rPr>
              <a:t> tháng 4 so với cùng kỳ</a:t>
            </a:r>
            <a:endParaRPr lang="en-US" sz="1467" b="1" dirty="0">
              <a:solidFill>
                <a:schemeClr val="bg1"/>
              </a:solidFill>
              <a:ea typeface="Times New Roman" panose="02020603050405020304" pitchFamily="18" charset="0"/>
            </a:endParaRPr>
          </a:p>
        </p:txBody>
      </p:sp>
      <p:grpSp>
        <p:nvGrpSpPr>
          <p:cNvPr id="34" name="Group 33">
            <a:extLst>
              <a:ext uri="{FF2B5EF4-FFF2-40B4-BE49-F238E27FC236}">
                <a16:creationId xmlns:a16="http://schemas.microsoft.com/office/drawing/2014/main" xmlns="" id="{E9FF81F2-B8F1-6141-480B-3136065353D9}"/>
              </a:ext>
            </a:extLst>
          </p:cNvPr>
          <p:cNvGrpSpPr>
            <a:grpSpLocks/>
          </p:cNvGrpSpPr>
          <p:nvPr/>
        </p:nvGrpSpPr>
        <p:grpSpPr>
          <a:xfrm>
            <a:off x="6823011" y="2626605"/>
            <a:ext cx="1106810" cy="548175"/>
            <a:chOff x="644763" y="2010657"/>
            <a:chExt cx="830108" cy="411131"/>
          </a:xfrm>
        </p:grpSpPr>
        <p:sp>
          <p:nvSpPr>
            <p:cNvPr id="35" name="Rectangle: Rounded Corners 34">
              <a:extLst>
                <a:ext uri="{FF2B5EF4-FFF2-40B4-BE49-F238E27FC236}">
                  <a16:creationId xmlns:a16="http://schemas.microsoft.com/office/drawing/2014/main" xmlns="" id="{3377797C-7F0A-EE3C-37C3-3852C21DB374}"/>
                </a:ext>
              </a:extLst>
            </p:cNvPr>
            <p:cNvSpPr>
              <a:spLocks/>
            </p:cNvSpPr>
            <p:nvPr/>
          </p:nvSpPr>
          <p:spPr>
            <a:xfrm>
              <a:off x="644763" y="2010657"/>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36" name="TextBox 35">
              <a:extLst>
                <a:ext uri="{FF2B5EF4-FFF2-40B4-BE49-F238E27FC236}">
                  <a16:creationId xmlns:a16="http://schemas.microsoft.com/office/drawing/2014/main" xmlns="" id="{24DED5F8-EA4A-CF4E-6465-9718CCC7B9AB}"/>
                </a:ext>
              </a:extLst>
            </p:cNvPr>
            <p:cNvSpPr txBox="1">
              <a:spLocks/>
            </p:cNvSpPr>
            <p:nvPr/>
          </p:nvSpPr>
          <p:spPr>
            <a:xfrm>
              <a:off x="809785" y="2075539"/>
              <a:ext cx="665086" cy="346249"/>
            </a:xfrm>
            <a:prstGeom prst="rect">
              <a:avLst/>
            </a:prstGeom>
            <a:noFill/>
          </p:spPr>
          <p:txBody>
            <a:bodyPr wrap="none" rtlCol="0">
              <a:spAutoFit/>
            </a:bodyPr>
            <a:lstStyle/>
            <a:p>
              <a:r>
                <a:rPr lang="vi-VN" sz="2400" b="1">
                  <a:solidFill>
                    <a:schemeClr val="accent6">
                      <a:lumMod val="50000"/>
                    </a:schemeClr>
                  </a:solidFill>
                  <a:ea typeface="Times New Roman" panose="02020603050405020304" pitchFamily="18" charset="0"/>
                </a:rPr>
                <a:t>5,7%</a:t>
              </a:r>
              <a:endParaRPr lang="en-US" sz="2400" b="1" dirty="0">
                <a:solidFill>
                  <a:schemeClr val="accent6">
                    <a:lumMod val="50000"/>
                  </a:schemeClr>
                </a:solidFill>
              </a:endParaRPr>
            </a:p>
          </p:txBody>
        </p:sp>
        <p:sp>
          <p:nvSpPr>
            <p:cNvPr id="37" name="Flowchart: Merge 36">
              <a:extLst>
                <a:ext uri="{FF2B5EF4-FFF2-40B4-BE49-F238E27FC236}">
                  <a16:creationId xmlns:a16="http://schemas.microsoft.com/office/drawing/2014/main" xmlns="" id="{DB217C6A-2443-FEAC-E228-3E525D3BFCB8}"/>
                </a:ext>
              </a:extLst>
            </p:cNvPr>
            <p:cNvSpPr>
              <a:spLocks/>
            </p:cNvSpPr>
            <p:nvPr/>
          </p:nvSpPr>
          <p:spPr>
            <a:xfrm>
              <a:off x="708715" y="2165622"/>
              <a:ext cx="165830" cy="127610"/>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38" name="Group 37">
            <a:extLst>
              <a:ext uri="{FF2B5EF4-FFF2-40B4-BE49-F238E27FC236}">
                <a16:creationId xmlns:a16="http://schemas.microsoft.com/office/drawing/2014/main" xmlns="" id="{11D29D9B-8730-3997-C9A4-11315D5FC881}"/>
              </a:ext>
            </a:extLst>
          </p:cNvPr>
          <p:cNvGrpSpPr>
            <a:grpSpLocks/>
          </p:cNvGrpSpPr>
          <p:nvPr/>
        </p:nvGrpSpPr>
        <p:grpSpPr>
          <a:xfrm>
            <a:off x="6881981" y="5968119"/>
            <a:ext cx="1098954" cy="566333"/>
            <a:chOff x="611028" y="3768325"/>
            <a:chExt cx="824215" cy="424750"/>
          </a:xfrm>
        </p:grpSpPr>
        <p:sp>
          <p:nvSpPr>
            <p:cNvPr id="39" name="Rectangle: Rounded Corners 38">
              <a:extLst>
                <a:ext uri="{FF2B5EF4-FFF2-40B4-BE49-F238E27FC236}">
                  <a16:creationId xmlns:a16="http://schemas.microsoft.com/office/drawing/2014/main" xmlns="" id="{DCC58495-1CFF-5F96-92C1-ADC3F8D7493D}"/>
                </a:ext>
              </a:extLst>
            </p:cNvPr>
            <p:cNvSpPr>
              <a:spLocks/>
            </p:cNvSpPr>
            <p:nvPr/>
          </p:nvSpPr>
          <p:spPr>
            <a:xfrm>
              <a:off x="611028" y="3768325"/>
              <a:ext cx="738469" cy="41177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40" name="TextBox 39">
              <a:extLst>
                <a:ext uri="{FF2B5EF4-FFF2-40B4-BE49-F238E27FC236}">
                  <a16:creationId xmlns:a16="http://schemas.microsoft.com/office/drawing/2014/main" xmlns="" id="{FABBDFEF-7425-3DC8-26BD-C4182D52986A}"/>
                </a:ext>
              </a:extLst>
            </p:cNvPr>
            <p:cNvSpPr txBox="1">
              <a:spLocks/>
            </p:cNvSpPr>
            <p:nvPr/>
          </p:nvSpPr>
          <p:spPr>
            <a:xfrm>
              <a:off x="770158" y="3846826"/>
              <a:ext cx="665085" cy="346249"/>
            </a:xfrm>
            <a:prstGeom prst="rect">
              <a:avLst/>
            </a:prstGeom>
            <a:noFill/>
          </p:spPr>
          <p:txBody>
            <a:bodyPr wrap="none" rtlCol="0">
              <a:spAutoFit/>
            </a:bodyPr>
            <a:lstStyle/>
            <a:p>
              <a:r>
                <a:rPr lang="vi-VN" sz="2400" b="1">
                  <a:solidFill>
                    <a:schemeClr val="accent6">
                      <a:lumMod val="50000"/>
                    </a:schemeClr>
                  </a:solidFill>
                  <a:ea typeface="Times New Roman" panose="02020603050405020304" pitchFamily="18" charset="0"/>
                </a:rPr>
                <a:t>0,7%</a:t>
              </a:r>
              <a:endParaRPr lang="en-US" sz="2400" b="1" dirty="0">
                <a:solidFill>
                  <a:schemeClr val="accent6">
                    <a:lumMod val="50000"/>
                  </a:schemeClr>
                </a:solidFill>
              </a:endParaRPr>
            </a:p>
          </p:txBody>
        </p:sp>
      </p:grpSp>
      <p:grpSp>
        <p:nvGrpSpPr>
          <p:cNvPr id="41" name="Group 40">
            <a:extLst>
              <a:ext uri="{FF2B5EF4-FFF2-40B4-BE49-F238E27FC236}">
                <a16:creationId xmlns:a16="http://schemas.microsoft.com/office/drawing/2014/main" xmlns="" id="{F8F0BB93-27B2-163B-81FF-6B6608C40518}"/>
              </a:ext>
            </a:extLst>
          </p:cNvPr>
          <p:cNvGrpSpPr>
            <a:grpSpLocks/>
          </p:cNvGrpSpPr>
          <p:nvPr/>
        </p:nvGrpSpPr>
        <p:grpSpPr>
          <a:xfrm>
            <a:off x="9604242" y="5971565"/>
            <a:ext cx="984625" cy="528468"/>
            <a:chOff x="2663722" y="3768325"/>
            <a:chExt cx="738469" cy="396351"/>
          </a:xfrm>
        </p:grpSpPr>
        <p:sp>
          <p:nvSpPr>
            <p:cNvPr id="42" name="Rectangle: Rounded Corners 41">
              <a:extLst>
                <a:ext uri="{FF2B5EF4-FFF2-40B4-BE49-F238E27FC236}">
                  <a16:creationId xmlns:a16="http://schemas.microsoft.com/office/drawing/2014/main" xmlns="" id="{03791139-CFD4-3B08-8BB5-A85B0DA03D19}"/>
                </a:ext>
              </a:extLst>
            </p:cNvPr>
            <p:cNvSpPr>
              <a:spLocks/>
            </p:cNvSpPr>
            <p:nvPr/>
          </p:nvSpPr>
          <p:spPr>
            <a:xfrm>
              <a:off x="2663722" y="3768325"/>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43" name="Isosceles Triangle 42">
              <a:extLst>
                <a:ext uri="{FF2B5EF4-FFF2-40B4-BE49-F238E27FC236}">
                  <a16:creationId xmlns:a16="http://schemas.microsoft.com/office/drawing/2014/main" xmlns="" id="{11749288-D7D2-CD42-4C74-01B7117D9133}"/>
                </a:ext>
              </a:extLst>
            </p:cNvPr>
            <p:cNvSpPr>
              <a:spLocks/>
            </p:cNvSpPr>
            <p:nvPr/>
          </p:nvSpPr>
          <p:spPr>
            <a:xfrm>
              <a:off x="2722697" y="3912509"/>
              <a:ext cx="164361" cy="13121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0000"/>
                </a:solidFill>
              </a:endParaRPr>
            </a:p>
          </p:txBody>
        </p:sp>
        <p:sp>
          <p:nvSpPr>
            <p:cNvPr id="44" name="TextBox 43">
              <a:extLst>
                <a:ext uri="{FF2B5EF4-FFF2-40B4-BE49-F238E27FC236}">
                  <a16:creationId xmlns:a16="http://schemas.microsoft.com/office/drawing/2014/main" xmlns="" id="{636102A5-292E-4115-0BF1-8411DAD6DF17}"/>
                </a:ext>
              </a:extLst>
            </p:cNvPr>
            <p:cNvSpPr txBox="1">
              <a:spLocks/>
            </p:cNvSpPr>
            <p:nvPr/>
          </p:nvSpPr>
          <p:spPr>
            <a:xfrm>
              <a:off x="2769200" y="3818427"/>
              <a:ext cx="588142" cy="346249"/>
            </a:xfrm>
            <a:prstGeom prst="rect">
              <a:avLst/>
            </a:prstGeom>
            <a:noFill/>
          </p:spPr>
          <p:txBody>
            <a:bodyPr wrap="none" rtlCol="0">
              <a:spAutoFit/>
            </a:bodyPr>
            <a:lstStyle/>
            <a:p>
              <a:r>
                <a:rPr lang="en-US" sz="2400" b="1">
                  <a:solidFill>
                    <a:schemeClr val="accent6">
                      <a:lumMod val="50000"/>
                    </a:schemeClr>
                  </a:solidFill>
                  <a:ea typeface="Times New Roman" panose="02020603050405020304" pitchFamily="18" charset="0"/>
                </a:rPr>
                <a:t> </a:t>
              </a:r>
              <a:r>
                <a:rPr lang="vi-VN" sz="2400" b="1">
                  <a:solidFill>
                    <a:schemeClr val="accent6">
                      <a:lumMod val="50000"/>
                    </a:schemeClr>
                  </a:solidFill>
                  <a:ea typeface="Times New Roman" panose="02020603050405020304" pitchFamily="18" charset="0"/>
                </a:rPr>
                <a:t> 9%</a:t>
              </a:r>
              <a:endParaRPr lang="en-US" sz="2400" b="1" dirty="0">
                <a:solidFill>
                  <a:schemeClr val="accent6">
                    <a:lumMod val="50000"/>
                  </a:schemeClr>
                </a:solidFill>
              </a:endParaRPr>
            </a:p>
          </p:txBody>
        </p:sp>
      </p:grpSp>
      <p:pic>
        <p:nvPicPr>
          <p:cNvPr id="45" name="Picture 44" descr="Cows outdoor">
            <a:extLst>
              <a:ext uri="{FF2B5EF4-FFF2-40B4-BE49-F238E27FC236}">
                <a16:creationId xmlns:a16="http://schemas.microsoft.com/office/drawing/2014/main" xmlns="" id="{877003C6-7270-3A27-2661-B33D0BFBFE1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397323" y="2900693"/>
            <a:ext cx="2703412" cy="1790540"/>
          </a:xfrm>
          <a:prstGeom prst="rect">
            <a:avLst/>
          </a:prstGeom>
          <a:ln>
            <a:noFill/>
          </a:ln>
          <a:effectLst>
            <a:softEdge rad="112500"/>
          </a:effectLst>
        </p:spPr>
      </p:pic>
      <p:grpSp>
        <p:nvGrpSpPr>
          <p:cNvPr id="46" name="Group 45">
            <a:extLst>
              <a:ext uri="{FF2B5EF4-FFF2-40B4-BE49-F238E27FC236}">
                <a16:creationId xmlns:a16="http://schemas.microsoft.com/office/drawing/2014/main" xmlns="" id="{937E3CB8-3528-4025-9B27-90C52F1E8DB0}"/>
              </a:ext>
            </a:extLst>
          </p:cNvPr>
          <p:cNvGrpSpPr>
            <a:grpSpLocks/>
          </p:cNvGrpSpPr>
          <p:nvPr/>
        </p:nvGrpSpPr>
        <p:grpSpPr>
          <a:xfrm>
            <a:off x="9628736" y="2721582"/>
            <a:ext cx="1207237" cy="505216"/>
            <a:chOff x="3527813" y="2023506"/>
            <a:chExt cx="905428" cy="378912"/>
          </a:xfrm>
        </p:grpSpPr>
        <p:sp>
          <p:nvSpPr>
            <p:cNvPr id="47" name="Rectangle: Rounded Corners 46">
              <a:extLst>
                <a:ext uri="{FF2B5EF4-FFF2-40B4-BE49-F238E27FC236}">
                  <a16:creationId xmlns:a16="http://schemas.microsoft.com/office/drawing/2014/main" xmlns="" id="{CA71F74B-43C0-54BB-DB73-1AEB825601BE}"/>
                </a:ext>
              </a:extLst>
            </p:cNvPr>
            <p:cNvSpPr>
              <a:spLocks/>
            </p:cNvSpPr>
            <p:nvPr/>
          </p:nvSpPr>
          <p:spPr>
            <a:xfrm>
              <a:off x="3527813" y="2023506"/>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dirty="0"/>
            </a:p>
          </p:txBody>
        </p:sp>
        <p:sp>
          <p:nvSpPr>
            <p:cNvPr id="48" name="TextBox 47">
              <a:extLst>
                <a:ext uri="{FF2B5EF4-FFF2-40B4-BE49-F238E27FC236}">
                  <a16:creationId xmlns:a16="http://schemas.microsoft.com/office/drawing/2014/main" xmlns="" id="{1DEE14E9-5B38-0A85-77D6-8AAC8B32AFDB}"/>
                </a:ext>
              </a:extLst>
            </p:cNvPr>
            <p:cNvSpPr txBox="1">
              <a:spLocks/>
            </p:cNvSpPr>
            <p:nvPr/>
          </p:nvSpPr>
          <p:spPr>
            <a:xfrm>
              <a:off x="3757378" y="2084807"/>
              <a:ext cx="675863" cy="300083"/>
            </a:xfrm>
            <a:prstGeom prst="rect">
              <a:avLst/>
            </a:prstGeom>
            <a:noFill/>
          </p:spPr>
          <p:txBody>
            <a:bodyPr wrap="square" rtlCol="0">
              <a:spAutoFit/>
            </a:bodyPr>
            <a:lstStyle/>
            <a:p>
              <a:r>
                <a:rPr lang="vi-VN" sz="2000" b="1">
                  <a:solidFill>
                    <a:schemeClr val="accent6">
                      <a:lumMod val="50000"/>
                    </a:schemeClr>
                  </a:solidFill>
                  <a:ea typeface="Times New Roman" panose="02020603050405020304" pitchFamily="18" charset="0"/>
                </a:rPr>
                <a:t>2,8%</a:t>
              </a:r>
              <a:endParaRPr lang="en-US" sz="2000" b="1" dirty="0">
                <a:solidFill>
                  <a:schemeClr val="accent6">
                    <a:lumMod val="50000"/>
                  </a:schemeClr>
                </a:solidFill>
              </a:endParaRPr>
            </a:p>
          </p:txBody>
        </p:sp>
        <p:sp>
          <p:nvSpPr>
            <p:cNvPr id="49" name="Isosceles Triangle 48">
              <a:extLst>
                <a:ext uri="{FF2B5EF4-FFF2-40B4-BE49-F238E27FC236}">
                  <a16:creationId xmlns:a16="http://schemas.microsoft.com/office/drawing/2014/main" xmlns="" id="{0EBD9E70-776A-F6A4-F214-88EA95C32969}"/>
                </a:ext>
              </a:extLst>
            </p:cNvPr>
            <p:cNvSpPr>
              <a:spLocks/>
            </p:cNvSpPr>
            <p:nvPr/>
          </p:nvSpPr>
          <p:spPr>
            <a:xfrm>
              <a:off x="3614919" y="2157839"/>
              <a:ext cx="164361" cy="13121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0000"/>
                </a:solidFill>
              </a:endParaRPr>
            </a:p>
          </p:txBody>
        </p:sp>
      </p:grpSp>
      <p:pic>
        <p:nvPicPr>
          <p:cNvPr id="50" name="Picture 49" descr="A group of cows&#10;&#10;Description automatically generated with low confidence">
            <a:extLst>
              <a:ext uri="{FF2B5EF4-FFF2-40B4-BE49-F238E27FC236}">
                <a16:creationId xmlns:a16="http://schemas.microsoft.com/office/drawing/2014/main" xmlns="" id="{CC057292-7944-31CA-AED4-B1127A7792E6}"/>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380177" y="3047722"/>
            <a:ext cx="2145198" cy="1507464"/>
          </a:xfrm>
          <a:prstGeom prst="rect">
            <a:avLst/>
          </a:prstGeom>
        </p:spPr>
      </p:pic>
      <p:sp>
        <p:nvSpPr>
          <p:cNvPr id="51" name="Flowchart: Merge 50">
            <a:extLst>
              <a:ext uri="{FF2B5EF4-FFF2-40B4-BE49-F238E27FC236}">
                <a16:creationId xmlns:a16="http://schemas.microsoft.com/office/drawing/2014/main" xmlns="" id="{E639D5A5-0B2B-2B25-C42F-CD3F6B8CE468}"/>
              </a:ext>
            </a:extLst>
          </p:cNvPr>
          <p:cNvSpPr>
            <a:spLocks/>
          </p:cNvSpPr>
          <p:nvPr/>
        </p:nvSpPr>
        <p:spPr>
          <a:xfrm>
            <a:off x="6932409" y="6198395"/>
            <a:ext cx="221107" cy="170147"/>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aphicFrame>
        <p:nvGraphicFramePr>
          <p:cNvPr id="4" name="Object 3">
            <a:extLst>
              <a:ext uri="{FF2B5EF4-FFF2-40B4-BE49-F238E27FC236}">
                <a16:creationId xmlns:a16="http://schemas.microsoft.com/office/drawing/2014/main" xmlns="" id="{167F3161-DD78-935D-77A0-E20BFD3D81E1}"/>
              </a:ext>
            </a:extLst>
          </p:cNvPr>
          <p:cNvGraphicFramePr>
            <a:graphicFrameLocks noChangeAspect="1"/>
          </p:cNvGraphicFramePr>
          <p:nvPr>
            <p:extLst>
              <p:ext uri="{D42A27DB-BD31-4B8C-83A1-F6EECF244321}">
                <p14:modId xmlns:p14="http://schemas.microsoft.com/office/powerpoint/2010/main" val="3782343771"/>
              </p:ext>
            </p:extLst>
          </p:nvPr>
        </p:nvGraphicFramePr>
        <p:xfrm>
          <a:off x="246133" y="4262080"/>
          <a:ext cx="6489639" cy="1706039"/>
        </p:xfrm>
        <a:graphic>
          <a:graphicData uri="http://schemas.openxmlformats.org/presentationml/2006/ole">
            <mc:AlternateContent xmlns:mc="http://schemas.openxmlformats.org/markup-compatibility/2006">
              <mc:Choice xmlns:v="urn:schemas-microsoft-com:vml" Requires="v">
                <p:oleObj spid="_x0000_s9222" name="Worksheet" r:id="rId8" imgW="7391520" imgH="1943020" progId="Excel.Sheet.12">
                  <p:embed/>
                </p:oleObj>
              </mc:Choice>
              <mc:Fallback>
                <p:oleObj name="Worksheet" r:id="rId8" imgW="7391520" imgH="1943020" progId="Excel.Sheet.12">
                  <p:embed/>
                  <p:pic>
                    <p:nvPicPr>
                      <p:cNvPr id="4" name="Object 3">
                        <a:extLst>
                          <a:ext uri="{FF2B5EF4-FFF2-40B4-BE49-F238E27FC236}">
                            <a16:creationId xmlns:a16="http://schemas.microsoft.com/office/drawing/2014/main" xmlns="" id="{167F3161-DD78-935D-77A0-E20BFD3D81E1}"/>
                          </a:ext>
                        </a:extLst>
                      </p:cNvPr>
                      <p:cNvPicPr/>
                      <p:nvPr/>
                    </p:nvPicPr>
                    <p:blipFill>
                      <a:blip r:embed="rId9"/>
                      <a:stretch>
                        <a:fillRect/>
                      </a:stretch>
                    </p:blipFill>
                    <p:spPr>
                      <a:xfrm>
                        <a:off x="246133" y="4262080"/>
                        <a:ext cx="6489639" cy="1706039"/>
                      </a:xfrm>
                      <a:prstGeom prst="rect">
                        <a:avLst/>
                      </a:prstGeom>
                    </p:spPr>
                  </p:pic>
                </p:oleObj>
              </mc:Fallback>
            </mc:AlternateContent>
          </a:graphicData>
        </a:graphic>
      </p:graphicFrame>
      <p:sp>
        <p:nvSpPr>
          <p:cNvPr id="6" name="Title 1">
            <a:extLst>
              <a:ext uri="{FF2B5EF4-FFF2-40B4-BE49-F238E27FC236}">
                <a16:creationId xmlns:a16="http://schemas.microsoft.com/office/drawing/2014/main" xmlns="" id="{92405935-9037-2264-EBA5-31E82349A474}"/>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xmlns="" id="{B32367A8-7646-EBBA-9144-BEC13126AB4A}"/>
              </a:ext>
            </a:extLst>
          </p:cNvPr>
          <p:cNvCxnSpPr>
            <a:cxnSpLocks/>
          </p:cNvCxnSpPr>
          <p:nvPr/>
        </p:nvCxnSpPr>
        <p:spPr>
          <a:xfrm>
            <a:off x="777362" y="524236"/>
            <a:ext cx="8249192"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xmlns="" id="{18AC359A-8ADF-9DAA-4CA1-F82A916F1E2E}"/>
              </a:ext>
            </a:extLst>
          </p:cNvPr>
          <p:cNvSpPr/>
          <p:nvPr/>
        </p:nvSpPr>
        <p:spPr>
          <a:xfrm>
            <a:off x="1119325" y="640147"/>
            <a:ext cx="266355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2. </a:t>
            </a:r>
            <a:r>
              <a:rPr lang="en-US" sz="2800" b="1" spc="-20" dirty="0" err="1">
                <a:solidFill>
                  <a:srgbClr val="100717"/>
                </a:solidFill>
                <a:latin typeface="Times New Roman" panose="02020603050405020304" pitchFamily="18" charset="0"/>
                <a:cs typeface="Times New Roman" panose="02020603050405020304" pitchFamily="18" charset="0"/>
              </a:rPr>
              <a:t>Chă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uô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2938349"/>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777362" y="523388"/>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dirty="0">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886625" y="1001561"/>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404551" y="1210083"/>
            <a:ext cx="289822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3. </a:t>
            </a:r>
            <a:r>
              <a:rPr lang="en-US" sz="2800" b="1" spc="-20" dirty="0" err="1">
                <a:solidFill>
                  <a:srgbClr val="100717"/>
                </a:solidFill>
                <a:latin typeface="Times New Roman" panose="02020603050405020304" pitchFamily="18" charset="0"/>
                <a:cs typeface="Times New Roman" panose="02020603050405020304" pitchFamily="18" charset="0"/>
              </a:rPr>
              <a:t>Lâm</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358306801"/>
              </p:ext>
            </p:extLst>
          </p:nvPr>
        </p:nvGraphicFramePr>
        <p:xfrm>
          <a:off x="777362" y="2538368"/>
          <a:ext cx="6157704" cy="2743200"/>
        </p:xfrm>
        <a:graphic>
          <a:graphicData uri="http://schemas.openxmlformats.org/drawingml/2006/table">
            <a:tbl>
              <a:tblPr firstRow="1" bandRow="1"/>
              <a:tblGrid>
                <a:gridCol w="6157704">
                  <a:extLst>
                    <a:ext uri="{9D8B030D-6E8A-4147-A177-3AD203B41FA5}">
                      <a16:colId xmlns:a16="http://schemas.microsoft.com/office/drawing/2014/main" xmlns="" val="3655493598"/>
                    </a:ext>
                  </a:extLst>
                </a:gridCol>
              </a:tblGrid>
              <a:tr h="268182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uầ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a</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bảo vệ</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 phòng chống cháy rừng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du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ì</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hườ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xuyên</a:t>
                      </a:r>
                      <a:r>
                        <a:rPr lang="es-ES" sz="24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Diện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rừ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a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hoá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bảo</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vệ</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12</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0.330</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ha.</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Trong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tháng, không xảy ra vụ cháy nào.</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dirty="0">
                        <a:solidFill>
                          <a:srgbClr val="FF0000"/>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pic>
        <p:nvPicPr>
          <p:cNvPr id="3" name="Picture 2" descr="A picture containing tree, outdoor, plant, forest&#10;&#10;Description automatically generated">
            <a:extLst>
              <a:ext uri="{FF2B5EF4-FFF2-40B4-BE49-F238E27FC236}">
                <a16:creationId xmlns:a16="http://schemas.microsoft.com/office/drawing/2014/main" xmlns="" id="{9B28E23C-E140-A1AD-5D04-A5E28F9A358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0200" y="2328998"/>
            <a:ext cx="4692827" cy="3016680"/>
          </a:xfrm>
          <a:prstGeom prst="rect">
            <a:avLst/>
          </a:prstGeom>
        </p:spPr>
      </p:pic>
    </p:spTree>
    <p:extLst>
      <p:ext uri="{BB962C8B-B14F-4D97-AF65-F5344CB8AC3E}">
        <p14:creationId xmlns:p14="http://schemas.microsoft.com/office/powerpoint/2010/main" val="996757595"/>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743600" y="434084"/>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dirty="0">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852863" y="912257"/>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270326" y="1002410"/>
            <a:ext cx="247849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4. </a:t>
            </a:r>
            <a:r>
              <a:rPr lang="en-US" sz="2800" b="1" spc="-20" dirty="0" err="1">
                <a:solidFill>
                  <a:srgbClr val="100717"/>
                </a:solidFill>
                <a:latin typeface="Times New Roman" panose="02020603050405020304" pitchFamily="18" charset="0"/>
                <a:cs typeface="Times New Roman" panose="02020603050405020304" pitchFamily="18" charset="0"/>
              </a:rPr>
              <a:t>Thủ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xmlns="" id="{D332573F-550E-B385-BE21-241ECFBBB5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1784" y="2233867"/>
            <a:ext cx="4063551" cy="2527801"/>
          </a:xfrm>
          <a:prstGeom prst="rect">
            <a:avLst/>
          </a:prstGeom>
        </p:spPr>
      </p:pic>
      <p:graphicFrame>
        <p:nvGraphicFramePr>
          <p:cNvPr id="9" name="Table 8">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2871570663"/>
              </p:ext>
            </p:extLst>
          </p:nvPr>
        </p:nvGraphicFramePr>
        <p:xfrm>
          <a:off x="668099" y="2053311"/>
          <a:ext cx="6758555" cy="3322320"/>
        </p:xfrm>
        <a:graphic>
          <a:graphicData uri="http://schemas.openxmlformats.org/drawingml/2006/table">
            <a:tbl>
              <a:tblPr firstRow="1" bandRow="1"/>
              <a:tblGrid>
                <a:gridCol w="6758555">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ượ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4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tháng đạt 81.</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683,5</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2,2</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R</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iêng</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khai</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hác</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cá</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ngừ</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đại</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dương</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4.651,9</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giảm</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11,4</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lượng</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nuôi</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rồng</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hủy</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2.016,3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tx1"/>
                          </a:solidFill>
                          <a:effectLst/>
                          <a:latin typeface="Times New Roman" panose="02020603050405020304" pitchFamily="18" charset="0"/>
                          <a:ea typeface="+mn-ea"/>
                          <a:cs typeface="Times New Roman" panose="02020603050405020304" pitchFamily="18" charset="0"/>
                        </a:rPr>
                        <a:t>giảm</a:t>
                      </a:r>
                      <a:r>
                        <a:rPr lang="es-ES" sz="2400" b="0" kern="1200" baseline="0" dirty="0">
                          <a:solidFill>
                            <a:schemeClr val="tx1"/>
                          </a:solidFill>
                          <a:effectLst/>
                          <a:latin typeface="Times New Roman" panose="02020603050405020304" pitchFamily="18" charset="0"/>
                          <a:ea typeface="+mn-ea"/>
                          <a:cs typeface="Times New Roman" panose="02020603050405020304" pitchFamily="18" charset="0"/>
                        </a:rPr>
                        <a:t> 13,6</a:t>
                      </a:r>
                      <a:r>
                        <a:rPr lang="es-ES" sz="2400" b="0" kern="1200" dirty="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i="0" kern="1200" dirty="0">
                          <a:solidFill>
                            <a:schemeClr val="dk1"/>
                          </a:solidFill>
                          <a:effectLst/>
                          <a:latin typeface="Times New Roman" panose="02020603050405020304" pitchFamily="18" charset="0"/>
                          <a:ea typeface="+mn-ea"/>
                          <a:cs typeface="Times New Roman" panose="02020603050405020304" pitchFamily="18" charset="0"/>
                        </a:rPr>
                        <a:t> Tiếp tục thực hiện khắc phục khai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thác thủy sản bất hợp  pháp, không báo cáo, không theo quy định (IUU)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dirty="0">
                        <a:solidFill>
                          <a:srgbClr val="FF0000"/>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spTree>
    <p:extLst>
      <p:ext uri="{BB962C8B-B14F-4D97-AF65-F5344CB8AC3E}">
        <p14:creationId xmlns:p14="http://schemas.microsoft.com/office/powerpoint/2010/main" val="3439953453"/>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01DC26C3-E6F4-C27A-8624-3A65D81B6008}"/>
              </a:ext>
            </a:extLst>
          </p:cNvPr>
          <p:cNvSpPr/>
          <p:nvPr/>
        </p:nvSpPr>
        <p:spPr>
          <a:xfrm>
            <a:off x="1119325" y="640147"/>
            <a:ext cx="2819683"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2.1. </a:t>
            </a:r>
            <a:r>
              <a:rPr lang="en-US" sz="2800" b="1" spc="-20" dirty="0" err="1">
                <a:solidFill>
                  <a:srgbClr val="100717"/>
                </a:solidFill>
                <a:latin typeface="Times New Roman" panose="02020603050405020304" pitchFamily="18" charset="0"/>
                <a:cs typeface="Times New Roman" panose="02020603050405020304" pitchFamily="18" charset="0"/>
              </a:rPr>
              <a:t>C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r>
              <a:rPr lang="en-US" sz="2800" b="1" spc="-20" dirty="0">
                <a:solidFill>
                  <a:srgbClr val="100717"/>
                </a:solidFill>
                <a:latin typeface="Times New Roman" panose="02020603050405020304" pitchFamily="18" charset="0"/>
                <a:cs typeface="Times New Roman" panose="02020603050405020304" pitchFamily="18" charset="0"/>
              </a:rPr>
              <a:t> </a:t>
            </a: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937154712"/>
              </p:ext>
            </p:extLst>
          </p:nvPr>
        </p:nvGraphicFramePr>
        <p:xfrm>
          <a:off x="685332" y="1123209"/>
          <a:ext cx="10949620" cy="1402080"/>
        </p:xfrm>
        <a:graphic>
          <a:graphicData uri="http://schemas.openxmlformats.org/drawingml/2006/table">
            <a:tbl>
              <a:tblPr firstRow="1" bandRow="1"/>
              <a:tblGrid>
                <a:gridCol w="10949620">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Chỉ số sản xuất công nghiệp (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tháng 4 tăng 4,3% so với tháng 3/2023 và tăng 2,19%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ính chung 4 tháng đầu năm, c</a:t>
                      </a:r>
                      <a:r>
                        <a:rPr lang="pt-BR" sz="2400" b="0" kern="1200">
                          <a:solidFill>
                            <a:schemeClr val="dk1"/>
                          </a:solidFill>
                          <a:effectLst/>
                          <a:latin typeface="Times New Roman" panose="02020603050405020304" pitchFamily="18" charset="0"/>
                          <a:ea typeface="+mn-ea"/>
                          <a:cs typeface="Times New Roman" panose="02020603050405020304" pitchFamily="18" charset="0"/>
                        </a:rPr>
                        <a:t>hỉ số sản xuất công nghiệp </a:t>
                      </a:r>
                      <a:r>
                        <a:rPr lang="en-US" sz="2400" b="0" kern="1200">
                          <a:solidFill>
                            <a:schemeClr val="dk1"/>
                          </a:solidFill>
                          <a:effectLst/>
                          <a:latin typeface="Times New Roman" panose="02020603050405020304" pitchFamily="18" charset="0"/>
                          <a:ea typeface="+mn-ea"/>
                          <a:cs typeface="Times New Roman" panose="02020603050405020304" pitchFamily="18" charset="0"/>
                        </a:rPr>
                        <a:t>tăng 1,27</a:t>
                      </a:r>
                      <a:r>
                        <a:rPr lang="pt-BR" sz="2400" b="0" kern="1200">
                          <a:solidFill>
                            <a:schemeClr val="dk1"/>
                          </a:solidFill>
                          <a:effectLst/>
                          <a:latin typeface="Times New Roman" panose="02020603050405020304" pitchFamily="18" charset="0"/>
                          <a:ea typeface="+mn-ea"/>
                          <a:cs typeface="Times New Roman" panose="02020603050405020304" pitchFamily="18" charset="0"/>
                        </a:rPr>
                        <a:t>% so</a:t>
                      </a:r>
                      <a:r>
                        <a:rPr lang="vi-VN" sz="2400" b="0" kern="1200">
                          <a:solidFill>
                            <a:schemeClr val="dk1"/>
                          </a:solidFill>
                          <a:effectLst/>
                          <a:latin typeface="Times New Roman" panose="02020603050405020304" pitchFamily="18" charset="0"/>
                          <a:ea typeface="+mn-ea"/>
                          <a:cs typeface="Times New Roman" panose="02020603050405020304" pitchFamily="18" charset="0"/>
                        </a:rPr>
                        <a:t> với</a:t>
                      </a:r>
                      <a:r>
                        <a:rPr lang="pt-BR" sz="2400" b="0" kern="1200">
                          <a:solidFill>
                            <a:schemeClr val="dk1"/>
                          </a:solidFill>
                          <a:effectLst/>
                          <a:latin typeface="Times New Roman" panose="02020603050405020304" pitchFamily="18" charset="0"/>
                          <a:ea typeface="+mn-ea"/>
                          <a:cs typeface="Times New Roman" panose="02020603050405020304" pitchFamily="18" charset="0"/>
                        </a:rPr>
                        <a:t> cùng kỳ</a:t>
                      </a:r>
                      <a:endParaRPr lang="it-IT"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graphicFrame>
        <p:nvGraphicFramePr>
          <p:cNvPr id="3" name="Table 2">
            <a:extLst>
              <a:ext uri="{FF2B5EF4-FFF2-40B4-BE49-F238E27FC236}">
                <a16:creationId xmlns:a16="http://schemas.microsoft.com/office/drawing/2014/main" xmlns="" id="{C8355AB6-B853-6AAF-AC29-F9812CBDC41E}"/>
              </a:ext>
            </a:extLst>
          </p:cNvPr>
          <p:cNvGraphicFramePr>
            <a:graphicFrameLocks noGrp="1"/>
          </p:cNvGraphicFramePr>
          <p:nvPr>
            <p:extLst>
              <p:ext uri="{D42A27DB-BD31-4B8C-83A1-F6EECF244321}">
                <p14:modId xmlns:p14="http://schemas.microsoft.com/office/powerpoint/2010/main" val="322556260"/>
              </p:ext>
            </p:extLst>
          </p:nvPr>
        </p:nvGraphicFramePr>
        <p:xfrm>
          <a:off x="668098" y="2601306"/>
          <a:ext cx="10698838" cy="4367428"/>
        </p:xfrm>
        <a:graphic>
          <a:graphicData uri="http://schemas.openxmlformats.org/drawingml/2006/table">
            <a:tbl>
              <a:tblPr firstRow="1" firstCol="1" bandRow="1"/>
              <a:tblGrid>
                <a:gridCol w="950471">
                  <a:extLst>
                    <a:ext uri="{9D8B030D-6E8A-4147-A177-3AD203B41FA5}">
                      <a16:colId xmlns:a16="http://schemas.microsoft.com/office/drawing/2014/main" xmlns="" val="1382152467"/>
                    </a:ext>
                  </a:extLst>
                </a:gridCol>
                <a:gridCol w="4123674">
                  <a:extLst>
                    <a:ext uri="{9D8B030D-6E8A-4147-A177-3AD203B41FA5}">
                      <a16:colId xmlns:a16="http://schemas.microsoft.com/office/drawing/2014/main" xmlns="" val="4212938879"/>
                    </a:ext>
                  </a:extLst>
                </a:gridCol>
                <a:gridCol w="1030653">
                  <a:extLst>
                    <a:ext uri="{9D8B030D-6E8A-4147-A177-3AD203B41FA5}">
                      <a16:colId xmlns:a16="http://schemas.microsoft.com/office/drawing/2014/main" xmlns="" val="1120701218"/>
                    </a:ext>
                  </a:extLst>
                </a:gridCol>
                <a:gridCol w="1056377">
                  <a:extLst>
                    <a:ext uri="{9D8B030D-6E8A-4147-A177-3AD203B41FA5}">
                      <a16:colId xmlns:a16="http://schemas.microsoft.com/office/drawing/2014/main" xmlns="" val="4055781665"/>
                    </a:ext>
                  </a:extLst>
                </a:gridCol>
                <a:gridCol w="1109771">
                  <a:extLst>
                    <a:ext uri="{9D8B030D-6E8A-4147-A177-3AD203B41FA5}">
                      <a16:colId xmlns:a16="http://schemas.microsoft.com/office/drawing/2014/main" xmlns="" val="2024925813"/>
                    </a:ext>
                  </a:extLst>
                </a:gridCol>
                <a:gridCol w="1255300">
                  <a:extLst>
                    <a:ext uri="{9D8B030D-6E8A-4147-A177-3AD203B41FA5}">
                      <a16:colId xmlns:a16="http://schemas.microsoft.com/office/drawing/2014/main" xmlns="" val="3931034686"/>
                    </a:ext>
                  </a:extLst>
                </a:gridCol>
                <a:gridCol w="1172592">
                  <a:extLst>
                    <a:ext uri="{9D8B030D-6E8A-4147-A177-3AD203B41FA5}">
                      <a16:colId xmlns:a16="http://schemas.microsoft.com/office/drawing/2014/main" xmlns="" val="2061578940"/>
                    </a:ext>
                  </a:extLst>
                </a:gridCol>
              </a:tblGrid>
              <a:tr h="347173">
                <a:tc rowSpan="2">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T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Chỉ tiêu</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Đơn vị tính</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Kế hoạch năm 2023</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Tháng 4/2023 so cùng kỳ năm trước</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Thực hiện </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extLst>
                  <a:ext uri="{0D108BD9-81ED-4DB2-BD59-A6C34878D82A}">
                    <a16:rowId xmlns:a16="http://schemas.microsoft.com/office/drawing/2014/main" xmlns="" val="2087598660"/>
                  </a:ext>
                </a:extLst>
              </a:tr>
              <a:tr h="736685">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Kỳ báo cáo (T4/2023 so T3/2023)</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Lũy kế từ đầu năm</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58800880"/>
                  </a:ext>
                </a:extLst>
              </a:tr>
              <a:tr h="237094">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1</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2</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3</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4</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 5</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6</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7</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6345770"/>
                  </a:ext>
                </a:extLst>
              </a:tr>
              <a:tr h="423382">
                <a:tc>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1</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Chỉ số sản xuất công nghiệp (IIP)</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b="1"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7,5-7,7</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102,19</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104,30</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b="1">
                          <a:effectLst/>
                          <a:latin typeface="Times New Roman" panose="02020603050405020304" pitchFamily="18" charset="0"/>
                          <a:ea typeface="Times New Roman" panose="02020603050405020304" pitchFamily="18" charset="0"/>
                        </a:rPr>
                        <a:t>101,27</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8595093"/>
                  </a:ext>
                </a:extLst>
              </a:tr>
              <a:tr h="423382">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Ngành CN chế biến, chế tạo</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2,68</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4,09</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1,53</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69907888"/>
                  </a:ext>
                </a:extLst>
              </a:tr>
              <a:tr h="423382">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Ngành CN khai khoáng</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1,10</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6,56</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96,09</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51236986"/>
                  </a:ext>
                </a:extLst>
              </a:tr>
              <a:tr h="423382">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Ngành sản xuất và phân phối điện</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96,99</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6,61</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98,73</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36762641"/>
                  </a:ext>
                </a:extLst>
              </a:tr>
              <a:tr h="495357">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Ngành cung cấp nước, quản lý rác thải</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600"/>
                        </a:spcBef>
                        <a:spcAft>
                          <a:spcPts val="600"/>
                        </a:spcAft>
                      </a:pPr>
                      <a:r>
                        <a:rPr lang="en-US" sz="1800" i="1">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2,30</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3,32</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Bef>
                          <a:spcPts val="600"/>
                        </a:spcBef>
                        <a:spcAft>
                          <a:spcPts val="600"/>
                        </a:spcAft>
                      </a:pPr>
                      <a:r>
                        <a:rPr lang="en-US" sz="1800">
                          <a:effectLst/>
                          <a:latin typeface="Times New Roman" panose="02020603050405020304" pitchFamily="18" charset="0"/>
                          <a:ea typeface="Times New Roman" panose="02020603050405020304" pitchFamily="18" charset="0"/>
                        </a:rPr>
                        <a:t>104,09</a:t>
                      </a:r>
                      <a:endParaRPr lang="vi-VN" sz="1800">
                        <a:effectLst/>
                        <a:latin typeface="Times New Roman" panose="02020603050405020304" pitchFamily="18"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42152252"/>
                  </a:ext>
                </a:extLst>
              </a:tr>
              <a:tr h="254030">
                <a:tc>
                  <a:txBody>
                    <a:bodyPr/>
                    <a:lstStyle/>
                    <a:p>
                      <a:pPr algn="r">
                        <a:lnSpc>
                          <a:spcPct val="115000"/>
                        </a:lnSpc>
                        <a:spcBef>
                          <a:spcPts val="600"/>
                        </a:spcBef>
                        <a:spcAft>
                          <a:spcPts val="600"/>
                        </a:spcAft>
                      </a:pP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Calibri" panose="020F0502020204030204" pitchFamily="34" charset="0"/>
                      </a:endParaRPr>
                    </a:p>
                  </a:txBody>
                  <a:tcPr marL="68580" marR="6858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15000"/>
                        </a:lnSpc>
                        <a:spcBef>
                          <a:spcPts val="600"/>
                        </a:spcBef>
                        <a:spcAft>
                          <a:spcPts val="600"/>
                        </a:spcAft>
                      </a:pP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Calibri" panose="020F0502020204030204" pitchFamily="34" charset="0"/>
                      </a:endParaRPr>
                    </a:p>
                  </a:txBody>
                  <a:tcPr marL="68580" marR="68580" marT="0" marB="0" anchor="b">
                    <a:lnL>
                      <a:noFill/>
                    </a:lnL>
                    <a:lnR>
                      <a:noFill/>
                    </a:lnR>
                    <a:lnT w="12700" cap="flat" cmpd="sng" algn="ctr">
                      <a:solidFill>
                        <a:srgbClr val="000000"/>
                      </a:solidFill>
                      <a:prstDash val="solid"/>
                      <a:round/>
                      <a:headEnd type="none" w="med" len="med"/>
                      <a:tailEnd type="none" w="med" len="med"/>
                    </a:lnT>
                    <a:lnB>
                      <a:noFill/>
                    </a:lnB>
                  </a:tcPr>
                </a:tc>
                <a:tc gridSpan="5">
                  <a:txBody>
                    <a:bodyPr/>
                    <a:lstStyle/>
                    <a:p>
                      <a:pPr>
                        <a:lnSpc>
                          <a:spcPct val="115000"/>
                        </a:lnSpc>
                        <a:spcBef>
                          <a:spcPts val="600"/>
                        </a:spcBef>
                        <a:spcAft>
                          <a:spcPts val="600"/>
                        </a:spcAft>
                      </a:pPr>
                      <a:r>
                        <a:rPr lang="vi-VN" sz="1200">
                          <a:effectLst/>
                          <a:latin typeface="Times New Roman" panose="02020603050405020304" pitchFamily="18" charset="0"/>
                          <a:ea typeface="Calibri" panose="020F050202020403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xmlns="" val="1191031619"/>
                  </a:ext>
                </a:extLst>
              </a:tr>
            </a:tbl>
          </a:graphicData>
        </a:graphic>
      </p:graphicFrame>
      <p:sp>
        <p:nvSpPr>
          <p:cNvPr id="9" name="Rectangle 8">
            <a:extLst>
              <a:ext uri="{FF2B5EF4-FFF2-40B4-BE49-F238E27FC236}">
                <a16:creationId xmlns:a16="http://schemas.microsoft.com/office/drawing/2014/main" xmlns="" id="{01DC26C3-E6F4-C27A-8624-3A65D81B6008}"/>
              </a:ext>
            </a:extLst>
          </p:cNvPr>
          <p:cNvSpPr/>
          <p:nvPr/>
        </p:nvSpPr>
        <p:spPr>
          <a:xfrm>
            <a:off x="692176" y="116927"/>
            <a:ext cx="422263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2. </a:t>
            </a:r>
            <a:r>
              <a:rPr lang="en-US" sz="2800" b="1" spc="-20" dirty="0" err="1">
                <a:solidFill>
                  <a:srgbClr val="100717"/>
                </a:solidFill>
                <a:latin typeface="Times New Roman" panose="02020603050405020304" pitchFamily="18" charset="0"/>
                <a:cs typeface="Times New Roman" panose="02020603050405020304" pitchFamily="18" charset="0"/>
              </a:rPr>
              <a:t>C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r>
              <a:rPr lang="en-US" sz="2800" b="1" spc="-20" dirty="0">
                <a:solidFill>
                  <a:srgbClr val="100717"/>
                </a:solidFill>
                <a:latin typeface="Times New Roman" panose="02020603050405020304" pitchFamily="18" charset="0"/>
                <a:cs typeface="Times New Roman" panose="02020603050405020304" pitchFamily="18" charset="0"/>
              </a:rPr>
              <a:t> – </a:t>
            </a:r>
            <a:r>
              <a:rPr lang="en-US" sz="2800" b="1" spc="-20" dirty="0" err="1">
                <a:solidFill>
                  <a:srgbClr val="100717"/>
                </a:solidFill>
                <a:latin typeface="Times New Roman" panose="02020603050405020304" pitchFamily="18" charset="0"/>
                <a:cs typeface="Times New Roman" panose="02020603050405020304" pitchFamily="18" charset="0"/>
              </a:rPr>
              <a:t>xâ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ự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9414345"/>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673840693"/>
              </p:ext>
            </p:extLst>
          </p:nvPr>
        </p:nvGraphicFramePr>
        <p:xfrm>
          <a:off x="645500" y="1481620"/>
          <a:ext cx="5170280" cy="3563345"/>
        </p:xfrm>
        <a:graphic>
          <a:graphicData uri="http://schemas.openxmlformats.org/drawingml/2006/table">
            <a:tbl>
              <a:tblPr firstRow="1" bandRow="1"/>
              <a:tblGrid>
                <a:gridCol w="5170280">
                  <a:extLst>
                    <a:ext uri="{9D8B030D-6E8A-4147-A177-3AD203B41FA5}">
                      <a16:colId xmlns:a16="http://schemas.microsoft.com/office/drawing/2014/main" xmlns="" val="3655493598"/>
                    </a:ext>
                  </a:extLst>
                </a:gridCol>
              </a:tblGrid>
              <a:tr h="35633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Triển khai Tập huấn về công tác quản lý dự án, quản lý đầu tư xây dựng cơ bản cho cán bộ, công chức, viên chức các cấp trên địa bàn tỉnh</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iếp tục tập trung thực hiện công tác bồi thường, GPMB dự án </a:t>
                      </a:r>
                      <a:r>
                        <a:rPr lang="vi-VN" sz="2400" b="0" kern="120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đoạn qua địa bàn tỉ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pic>
        <p:nvPicPr>
          <p:cNvPr id="3" name="Picture 2" descr="A person giving a presentation to a group of people&#10;&#10;Description automatically generated with medium confidence">
            <a:extLst>
              <a:ext uri="{FF2B5EF4-FFF2-40B4-BE49-F238E27FC236}">
                <a16:creationId xmlns:a16="http://schemas.microsoft.com/office/drawing/2014/main" xmlns="" id="{9AF740F2-8657-5D2B-1E99-EF2B003436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3707425"/>
            <a:ext cx="5677357" cy="2955774"/>
          </a:xfrm>
          <a:prstGeom prst="rect">
            <a:avLst/>
          </a:prstGeom>
        </p:spPr>
      </p:pic>
      <p:pic>
        <p:nvPicPr>
          <p:cNvPr id="7" name="Picture 6" descr="A group of people sitting in a room&#10;&#10;Description automatically generated with low confidence">
            <a:extLst>
              <a:ext uri="{FF2B5EF4-FFF2-40B4-BE49-F238E27FC236}">
                <a16:creationId xmlns:a16="http://schemas.microsoft.com/office/drawing/2014/main" xmlns="" id="{5CDE7AB5-FCC7-E08F-A14A-12072FF36A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788564"/>
            <a:ext cx="5703243" cy="2744686"/>
          </a:xfrm>
          <a:prstGeom prst="rect">
            <a:avLst/>
          </a:prstGeom>
        </p:spPr>
      </p:pic>
      <p:sp>
        <p:nvSpPr>
          <p:cNvPr id="9" name="Rectangle 8">
            <a:extLst>
              <a:ext uri="{FF2B5EF4-FFF2-40B4-BE49-F238E27FC236}">
                <a16:creationId xmlns:a16="http://schemas.microsoft.com/office/drawing/2014/main" xmlns="" id="{01DC26C3-E6F4-C27A-8624-3A65D81B6008}"/>
              </a:ext>
            </a:extLst>
          </p:cNvPr>
          <p:cNvSpPr/>
          <p:nvPr/>
        </p:nvSpPr>
        <p:spPr>
          <a:xfrm>
            <a:off x="1119325" y="640147"/>
            <a:ext cx="2383345"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2.2. </a:t>
            </a:r>
            <a:r>
              <a:rPr lang="en-US" sz="2800" b="1" spc="-20" dirty="0" err="1">
                <a:solidFill>
                  <a:srgbClr val="100717"/>
                </a:solidFill>
                <a:latin typeface="Times New Roman" panose="02020603050405020304" pitchFamily="18" charset="0"/>
                <a:cs typeface="Times New Roman" panose="02020603050405020304" pitchFamily="18" charset="0"/>
              </a:rPr>
              <a:t>Xâ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ựng</a:t>
            </a:r>
            <a:r>
              <a:rPr lang="en-US" sz="2800" b="1" spc="-20" dirty="0">
                <a:solidFill>
                  <a:srgbClr val="100717"/>
                </a:solidFill>
                <a:latin typeface="Times New Roman" panose="02020603050405020304" pitchFamily="18" charset="0"/>
                <a:cs typeface="Times New Roman" panose="02020603050405020304" pitchFamily="18" charset="0"/>
              </a:rPr>
              <a:t> </a:t>
            </a:r>
          </a:p>
        </p:txBody>
      </p:sp>
      <p:sp>
        <p:nvSpPr>
          <p:cNvPr id="10" name="Rectangle 9">
            <a:extLst>
              <a:ext uri="{FF2B5EF4-FFF2-40B4-BE49-F238E27FC236}">
                <a16:creationId xmlns:a16="http://schemas.microsoft.com/office/drawing/2014/main" xmlns="" id="{01DC26C3-E6F4-C27A-8624-3A65D81B6008}"/>
              </a:ext>
            </a:extLst>
          </p:cNvPr>
          <p:cNvSpPr/>
          <p:nvPr/>
        </p:nvSpPr>
        <p:spPr>
          <a:xfrm>
            <a:off x="692176" y="116927"/>
            <a:ext cx="422263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2. </a:t>
            </a:r>
            <a:r>
              <a:rPr lang="en-US" sz="2800" b="1" spc="-20" dirty="0" err="1">
                <a:solidFill>
                  <a:srgbClr val="100717"/>
                </a:solidFill>
                <a:latin typeface="Times New Roman" panose="02020603050405020304" pitchFamily="18" charset="0"/>
                <a:cs typeface="Times New Roman" panose="02020603050405020304" pitchFamily="18" charset="0"/>
              </a:rPr>
              <a:t>C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r>
              <a:rPr lang="en-US" sz="2800" b="1" spc="-20" dirty="0">
                <a:solidFill>
                  <a:srgbClr val="100717"/>
                </a:solidFill>
                <a:latin typeface="Times New Roman" panose="02020603050405020304" pitchFamily="18" charset="0"/>
                <a:cs typeface="Times New Roman" panose="02020603050405020304" pitchFamily="18" charset="0"/>
              </a:rPr>
              <a:t> – </a:t>
            </a:r>
            <a:r>
              <a:rPr lang="en-US" sz="2800" b="1" spc="-20" dirty="0" err="1">
                <a:solidFill>
                  <a:srgbClr val="100717"/>
                </a:solidFill>
                <a:latin typeface="Times New Roman" panose="02020603050405020304" pitchFamily="18" charset="0"/>
                <a:cs typeface="Times New Roman" panose="02020603050405020304" pitchFamily="18" charset="0"/>
              </a:rPr>
              <a:t>xâ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ự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8070525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777362" y="524236"/>
            <a:ext cx="83498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119325" y="640147"/>
            <a:ext cx="5202322"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3. </a:t>
            </a:r>
            <a:r>
              <a:rPr lang="en-US" sz="2800" b="1" spc="-20" dirty="0" err="1">
                <a:solidFill>
                  <a:srgbClr val="100717"/>
                </a:solidFill>
                <a:latin typeface="Times New Roman" panose="02020603050405020304" pitchFamily="18" charset="0"/>
                <a:cs typeface="Times New Roman" panose="02020603050405020304" pitchFamily="18" charset="0"/>
              </a:rPr>
              <a:t>Thươ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mạ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ị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vụ</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à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176724705"/>
              </p:ext>
            </p:extLst>
          </p:nvPr>
        </p:nvGraphicFramePr>
        <p:xfrm>
          <a:off x="767481" y="2165582"/>
          <a:ext cx="11045504" cy="3474720"/>
        </p:xfrm>
        <a:graphic>
          <a:graphicData uri="http://schemas.openxmlformats.org/drawingml/2006/table">
            <a:tbl>
              <a:tblPr firstRow="1" bandRow="1"/>
              <a:tblGrid>
                <a:gridCol w="11045504">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T</a:t>
                      </a:r>
                      <a:r>
                        <a:rPr lang="nl-NL" sz="2400" b="0" kern="1200" dirty="0">
                          <a:solidFill>
                            <a:schemeClr val="dk1"/>
                          </a:solidFill>
                          <a:effectLst/>
                          <a:latin typeface="Times New Roman" panose="02020603050405020304" pitchFamily="18" charset="0"/>
                          <a:ea typeface="+mn-ea"/>
                          <a:cs typeface="Times New Roman" panose="02020603050405020304" pitchFamily="18" charset="0"/>
                        </a:rPr>
                        <a:t>ình hình thị trường hàng hóa trên địa bàn tỉnh duy trì ổn định, lưu thông thông suốt</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4/2023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5%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400" b="1" kern="1200" dirty="0">
                          <a:solidFill>
                            <a:schemeClr val="dk1"/>
                          </a:solidFill>
                          <a:effectLst/>
                          <a:latin typeface="Times New Roman" panose="02020603050405020304" pitchFamily="18" charset="0"/>
                          <a:ea typeface="+mn-ea"/>
                          <a:cs typeface="Times New Roman" panose="02020603050405020304" pitchFamily="18" charset="0"/>
                        </a:rPr>
                        <a:t>Tính chung </a:t>
                      </a:r>
                      <a:r>
                        <a:rPr lang="vi-VN" sz="2400" b="1" kern="1200" dirty="0">
                          <a:solidFill>
                            <a:schemeClr val="dk1"/>
                          </a:solidFill>
                          <a:effectLst/>
                          <a:latin typeface="Times New Roman" panose="02020603050405020304" pitchFamily="18" charset="0"/>
                          <a:ea typeface="+mn-ea"/>
                          <a:cs typeface="Times New Roman" panose="02020603050405020304" pitchFamily="18" charset="0"/>
                        </a:rPr>
                        <a:t>4</a:t>
                      </a:r>
                      <a:r>
                        <a:rPr lang="nl-NL" sz="2400" b="1" kern="1200" dirty="0">
                          <a:solidFill>
                            <a:schemeClr val="dk1"/>
                          </a:solidFill>
                          <a:effectLst/>
                          <a:latin typeface="Times New Roman" panose="02020603050405020304" pitchFamily="18" charset="0"/>
                          <a:ea typeface="+mn-ea"/>
                          <a:cs typeface="Times New Roman" panose="02020603050405020304" pitchFamily="18" charset="0"/>
                        </a:rPr>
                        <a:t> tháng</a:t>
                      </a:r>
                      <a:r>
                        <a:rPr lang="vi-VN" sz="2400" b="1" kern="1200" dirty="0">
                          <a:solidFill>
                            <a:schemeClr val="dk1"/>
                          </a:solidFill>
                          <a:effectLst/>
                          <a:latin typeface="Times New Roman" panose="02020603050405020304" pitchFamily="18" charset="0"/>
                          <a:ea typeface="+mn-ea"/>
                          <a:cs typeface="Times New Roman" panose="02020603050405020304" pitchFamily="18" charset="0"/>
                        </a:rPr>
                        <a:t> đạt</a:t>
                      </a:r>
                      <a:r>
                        <a:rPr lang="nl-NL" sz="2400" b="1"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1" kern="1200" dirty="0">
                          <a:solidFill>
                            <a:schemeClr val="dk1"/>
                          </a:solidFill>
                          <a:effectLst/>
                          <a:latin typeface="Times New Roman" panose="02020603050405020304" pitchFamily="18" charset="0"/>
                          <a:ea typeface="+mn-ea"/>
                          <a:cs typeface="Times New Roman" panose="02020603050405020304" pitchFamily="18" charset="0"/>
                        </a:rPr>
                        <a:t>33.150</a:t>
                      </a:r>
                      <a:r>
                        <a:rPr lang="nl-NL" sz="2400" b="1" kern="1200" dirty="0">
                          <a:solidFill>
                            <a:schemeClr val="dk1"/>
                          </a:solidFill>
                          <a:effectLst/>
                          <a:latin typeface="Times New Roman" panose="02020603050405020304" pitchFamily="18" charset="0"/>
                          <a:ea typeface="+mn-ea"/>
                          <a:cs typeface="Times New Roman" panose="02020603050405020304" pitchFamily="18" charset="0"/>
                        </a:rPr>
                        <a:t> tỷ đồng, tăng 1</a:t>
                      </a:r>
                      <a:r>
                        <a:rPr lang="vi-VN" sz="2400" b="1" kern="1200" dirty="0">
                          <a:solidFill>
                            <a:schemeClr val="dk1"/>
                          </a:solidFill>
                          <a:effectLst/>
                          <a:latin typeface="Times New Roman" panose="02020603050405020304" pitchFamily="18" charset="0"/>
                          <a:ea typeface="+mn-ea"/>
                          <a:cs typeface="Times New Roman" panose="02020603050405020304" pitchFamily="18" charset="0"/>
                        </a:rPr>
                        <a:t>5,1</a:t>
                      </a:r>
                      <a:r>
                        <a:rPr lang="nl-NL" sz="2400" b="1" kern="1200" dirty="0">
                          <a:solidFill>
                            <a:schemeClr val="dk1"/>
                          </a:solidFill>
                          <a:effectLst/>
                          <a:latin typeface="Times New Roman" panose="02020603050405020304" pitchFamily="18" charset="0"/>
                          <a:ea typeface="+mn-ea"/>
                          <a:cs typeface="Times New Roman" panose="02020603050405020304" pitchFamily="18" charset="0"/>
                        </a:rPr>
                        <a:t>% so với cùng kỳ</a:t>
                      </a:r>
                      <a:endParaRPr lang="vi-VN" sz="2400" b="1"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400" b="0" kern="1200" dirty="0">
                          <a:solidFill>
                            <a:schemeClr val="dk1"/>
                          </a:solidFill>
                          <a:effectLst/>
                          <a:latin typeface="Times New Roman" panose="02020603050405020304" pitchFamily="18" charset="0"/>
                          <a:ea typeface="+mn-ea"/>
                          <a:cs typeface="Times New Roman" panose="02020603050405020304" pitchFamily="18" charset="0"/>
                        </a:rPr>
                        <a:t>Hoạt động ngoại thương tương đối khó khăn do giá các loại nguyên liệu tiếp tục tăng cao, tình hình lạm phát cao tại các nước như Mỹ, Anh, EU, việc đứt gãy chuỗi cung ứng trong thời gian qua đã ảnh hưởng tới các hoạt động xuất nhập khẩu trên địa bàn tỉnh</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sp>
        <p:nvSpPr>
          <p:cNvPr id="7" name="Rectangle 6">
            <a:extLst>
              <a:ext uri="{FF2B5EF4-FFF2-40B4-BE49-F238E27FC236}">
                <a16:creationId xmlns:a16="http://schemas.microsoft.com/office/drawing/2014/main" xmlns="" id="{01DC26C3-E6F4-C27A-8624-3A65D81B6008}"/>
              </a:ext>
            </a:extLst>
          </p:cNvPr>
          <p:cNvSpPr/>
          <p:nvPr/>
        </p:nvSpPr>
        <p:spPr>
          <a:xfrm>
            <a:off x="1670970" y="1185303"/>
            <a:ext cx="268208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3.1. </a:t>
            </a:r>
            <a:r>
              <a:rPr lang="en-US" sz="2800" b="1" spc="-20" dirty="0" err="1">
                <a:solidFill>
                  <a:srgbClr val="100717"/>
                </a:solidFill>
                <a:latin typeface="Times New Roman" panose="02020603050405020304" pitchFamily="18" charset="0"/>
                <a:cs typeface="Times New Roman" panose="02020603050405020304" pitchFamily="18" charset="0"/>
              </a:rPr>
              <a:t>Thươ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mạ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24842976"/>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xmlns="" id="{1AF3AFCB-E6F0-797F-4BB0-50D217787AF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2610" y="3207026"/>
            <a:ext cx="10691190" cy="2199376"/>
          </a:xfrm>
        </p:spPr>
      </p:pic>
      <p:sp>
        <p:nvSpPr>
          <p:cNvPr id="6" name="TextBox 5">
            <a:extLst>
              <a:ext uri="{FF2B5EF4-FFF2-40B4-BE49-F238E27FC236}">
                <a16:creationId xmlns:a16="http://schemas.microsoft.com/office/drawing/2014/main" xmlns="" id="{8F441EC3-0BA7-4F59-8AD1-8445D9757715}"/>
              </a:ext>
            </a:extLst>
          </p:cNvPr>
          <p:cNvSpPr txBox="1"/>
          <p:nvPr/>
        </p:nvSpPr>
        <p:spPr>
          <a:xfrm>
            <a:off x="1139687" y="5609577"/>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27.007 tỷ đồng</a:t>
            </a:r>
          </a:p>
          <a:p>
            <a:pPr algn="ctr"/>
            <a:r>
              <a:rPr lang="en-US" sz="2000" b="1">
                <a:solidFill>
                  <a:srgbClr val="C00000"/>
                </a:solidFill>
                <a:latin typeface="Times New Roman" panose="02020603050405020304" pitchFamily="18" charset="0"/>
                <a:cs typeface="Times New Roman" panose="02020603050405020304" pitchFamily="18" charset="0"/>
              </a:rPr>
              <a:t>     14,7%    </a:t>
            </a:r>
          </a:p>
        </p:txBody>
      </p:sp>
      <p:sp>
        <p:nvSpPr>
          <p:cNvPr id="7" name="TextBox 6">
            <a:extLst>
              <a:ext uri="{FF2B5EF4-FFF2-40B4-BE49-F238E27FC236}">
                <a16:creationId xmlns:a16="http://schemas.microsoft.com/office/drawing/2014/main" xmlns="" id="{6C0C263C-8AC5-4EA9-6623-5D53F070A466}"/>
              </a:ext>
            </a:extLst>
          </p:cNvPr>
          <p:cNvSpPr txBox="1"/>
          <p:nvPr/>
        </p:nvSpPr>
        <p:spPr>
          <a:xfrm>
            <a:off x="3743740" y="5604839"/>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4.016 tỷ đồng</a:t>
            </a:r>
          </a:p>
          <a:p>
            <a:pPr algn="ctr"/>
            <a:r>
              <a:rPr lang="en-US" sz="2000" b="1">
                <a:solidFill>
                  <a:srgbClr val="C00000"/>
                </a:solidFill>
                <a:latin typeface="Times New Roman" panose="02020603050405020304" pitchFamily="18" charset="0"/>
                <a:cs typeface="Times New Roman" panose="02020603050405020304" pitchFamily="18" charset="0"/>
              </a:rPr>
              <a:t>     21,5%    </a:t>
            </a:r>
          </a:p>
        </p:txBody>
      </p:sp>
      <p:sp>
        <p:nvSpPr>
          <p:cNvPr id="8" name="TextBox 7">
            <a:extLst>
              <a:ext uri="{FF2B5EF4-FFF2-40B4-BE49-F238E27FC236}">
                <a16:creationId xmlns:a16="http://schemas.microsoft.com/office/drawing/2014/main" xmlns="" id="{BE3FBCC4-B1C6-7537-0DC2-C1A9645EA02C}"/>
              </a:ext>
            </a:extLst>
          </p:cNvPr>
          <p:cNvSpPr txBox="1"/>
          <p:nvPr/>
        </p:nvSpPr>
        <p:spPr>
          <a:xfrm>
            <a:off x="6504380" y="5647771"/>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33,4 tỷ đồng</a:t>
            </a:r>
          </a:p>
          <a:p>
            <a:pPr algn="ctr"/>
            <a:r>
              <a:rPr lang="en-US" sz="2000" b="1">
                <a:solidFill>
                  <a:srgbClr val="C00000"/>
                </a:solidFill>
                <a:latin typeface="Times New Roman" panose="02020603050405020304" pitchFamily="18" charset="0"/>
                <a:cs typeface="Times New Roman" panose="02020603050405020304" pitchFamily="18" charset="0"/>
              </a:rPr>
              <a:t>     28,5%    </a:t>
            </a:r>
          </a:p>
        </p:txBody>
      </p:sp>
      <p:sp>
        <p:nvSpPr>
          <p:cNvPr id="9" name="TextBox 8">
            <a:extLst>
              <a:ext uri="{FF2B5EF4-FFF2-40B4-BE49-F238E27FC236}">
                <a16:creationId xmlns:a16="http://schemas.microsoft.com/office/drawing/2014/main" xmlns="" id="{BF2EF6F2-669D-669D-8EC0-42EAD0DB9009}"/>
              </a:ext>
            </a:extLst>
          </p:cNvPr>
          <p:cNvSpPr txBox="1"/>
          <p:nvPr/>
        </p:nvSpPr>
        <p:spPr>
          <a:xfrm>
            <a:off x="9104244" y="5604839"/>
            <a:ext cx="1948069" cy="707886"/>
          </a:xfrm>
          <a:prstGeom prst="rect">
            <a:avLst/>
          </a:prstGeom>
          <a:noFill/>
        </p:spPr>
        <p:txBody>
          <a:bodyPr wrap="square" rtlCol="0">
            <a:spAutoFit/>
          </a:bodyPr>
          <a:lstStyle/>
          <a:p>
            <a:pPr algn="ctr"/>
            <a:r>
              <a:rPr lang="en-US" sz="2000" b="1">
                <a:solidFill>
                  <a:srgbClr val="C00000"/>
                </a:solidFill>
                <a:latin typeface="Times New Roman" panose="02020603050405020304" pitchFamily="18" charset="0"/>
                <a:cs typeface="Times New Roman" panose="02020603050405020304" pitchFamily="18" charset="0"/>
              </a:rPr>
              <a:t>2.094 tỷ đồng</a:t>
            </a:r>
          </a:p>
          <a:p>
            <a:pPr algn="ctr"/>
            <a:r>
              <a:rPr lang="en-US" sz="2000" b="1">
                <a:solidFill>
                  <a:srgbClr val="C00000"/>
                </a:solidFill>
                <a:latin typeface="Times New Roman" panose="02020603050405020304" pitchFamily="18" charset="0"/>
                <a:cs typeface="Times New Roman" panose="02020603050405020304" pitchFamily="18" charset="0"/>
              </a:rPr>
              <a:t>     9,2%    </a:t>
            </a:r>
          </a:p>
        </p:txBody>
      </p:sp>
      <p:sp>
        <p:nvSpPr>
          <p:cNvPr id="11" name="Arrow: Down 59">
            <a:extLst>
              <a:ext uri="{FF2B5EF4-FFF2-40B4-BE49-F238E27FC236}">
                <a16:creationId xmlns:a16="http://schemas.microsoft.com/office/drawing/2014/main" xmlns="" id="{3C85A78B-8864-7D3C-593A-0204297AF05C}"/>
              </a:ext>
            </a:extLst>
          </p:cNvPr>
          <p:cNvSpPr/>
          <p:nvPr/>
        </p:nvSpPr>
        <p:spPr>
          <a:xfrm rot="10800000">
            <a:off x="9585306" y="6001713"/>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2" name="Arrow: Down 59">
            <a:extLst>
              <a:ext uri="{FF2B5EF4-FFF2-40B4-BE49-F238E27FC236}">
                <a16:creationId xmlns:a16="http://schemas.microsoft.com/office/drawing/2014/main" xmlns="" id="{D84514DD-CD76-9679-DDE8-4B4A4B154A4E}"/>
              </a:ext>
            </a:extLst>
          </p:cNvPr>
          <p:cNvSpPr/>
          <p:nvPr/>
        </p:nvSpPr>
        <p:spPr>
          <a:xfrm rot="10800000">
            <a:off x="7070465" y="6031113"/>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3" name="Arrow: Down 59">
            <a:extLst>
              <a:ext uri="{FF2B5EF4-FFF2-40B4-BE49-F238E27FC236}">
                <a16:creationId xmlns:a16="http://schemas.microsoft.com/office/drawing/2014/main" xmlns="" id="{C7E20C53-0FA5-0B76-A966-36B3BA3FF1AF}"/>
              </a:ext>
            </a:extLst>
          </p:cNvPr>
          <p:cNvSpPr/>
          <p:nvPr/>
        </p:nvSpPr>
        <p:spPr>
          <a:xfrm rot="10800000">
            <a:off x="4236018" y="6001713"/>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Arrow: Down 59">
            <a:extLst>
              <a:ext uri="{FF2B5EF4-FFF2-40B4-BE49-F238E27FC236}">
                <a16:creationId xmlns:a16="http://schemas.microsoft.com/office/drawing/2014/main" xmlns="" id="{D83C3182-4821-7FE4-C7FC-29324F3478DD}"/>
              </a:ext>
            </a:extLst>
          </p:cNvPr>
          <p:cNvSpPr/>
          <p:nvPr/>
        </p:nvSpPr>
        <p:spPr>
          <a:xfrm rot="10800000">
            <a:off x="1659821" y="600171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8" name="Rectangle 17">
            <a:extLst>
              <a:ext uri="{FF2B5EF4-FFF2-40B4-BE49-F238E27FC236}">
                <a16:creationId xmlns:a16="http://schemas.microsoft.com/office/drawing/2014/main" xmlns="" id="{FFC10AC6-2C73-A1C4-5D01-9745FB860C53}"/>
              </a:ext>
            </a:extLst>
          </p:cNvPr>
          <p:cNvSpPr/>
          <p:nvPr/>
        </p:nvSpPr>
        <p:spPr>
          <a:xfrm>
            <a:off x="337533" y="286022"/>
            <a:ext cx="11516933" cy="584775"/>
          </a:xfrm>
          <a:prstGeom prst="rect">
            <a:avLst/>
          </a:prstGeom>
        </p:spPr>
        <p:txBody>
          <a:bodyPr wrap="square">
            <a:spAutoFit/>
          </a:bodyPr>
          <a:lstStyle/>
          <a:p>
            <a:pPr marL="457200" marR="0" lvl="1" indent="-457200" algn="just"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en-US" sz="3200" b="1" u="none" strike="noStrike" kern="0" cap="none" spc="-10" normalizeH="0" baseline="0" noProof="0">
                <a:ln>
                  <a:noFill/>
                </a:ln>
                <a:solidFill>
                  <a:srgbClr val="381850"/>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ổng mức bán lẻ hàng hóa và doanh thu dịch vụ tiêu dùng</a:t>
            </a:r>
          </a:p>
        </p:txBody>
      </p:sp>
      <p:sp>
        <p:nvSpPr>
          <p:cNvPr id="19" name="Rounded Rectangle 77">
            <a:extLst>
              <a:ext uri="{FF2B5EF4-FFF2-40B4-BE49-F238E27FC236}">
                <a16:creationId xmlns:a16="http://schemas.microsoft.com/office/drawing/2014/main" xmlns="" id="{1D58FBF3-9576-499C-CA58-084366E54F8C}"/>
              </a:ext>
            </a:extLst>
          </p:cNvPr>
          <p:cNvSpPr/>
          <p:nvPr/>
        </p:nvSpPr>
        <p:spPr>
          <a:xfrm>
            <a:off x="1139686" y="1069233"/>
            <a:ext cx="10214113" cy="1407115"/>
          </a:xfrm>
          <a:prstGeom prst="roundRect">
            <a:avLst/>
          </a:prstGeom>
          <a:solidFill>
            <a:schemeClr val="accent6">
              <a:lumMod val="40000"/>
              <a:lumOff val="60000"/>
            </a:schemeClr>
          </a:solidFill>
          <a:ln>
            <a:noFill/>
          </a:ln>
          <a:effectLst>
            <a:innerShdw blurRad="63500" dist="50800" dir="2700000">
              <a:schemeClr val="accent3">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xmlns="" id="{46499BF0-4D64-5CB9-D715-F6433918CD00}"/>
              </a:ext>
            </a:extLst>
          </p:cNvPr>
          <p:cNvSpPr txBox="1"/>
          <p:nvPr/>
        </p:nvSpPr>
        <p:spPr>
          <a:xfrm>
            <a:off x="2916621" y="1808425"/>
            <a:ext cx="5535828" cy="584775"/>
          </a:xfrm>
          <a:prstGeom prst="rect">
            <a:avLst/>
          </a:prstGeom>
          <a:noFill/>
        </p:spPr>
        <p:txBody>
          <a:bodyPr wrap="square" rtlCol="0">
            <a:spAutoFit/>
          </a:bodyPr>
          <a:lstStyle/>
          <a:p>
            <a:pPr algn="ctr"/>
            <a:r>
              <a:rPr lang="en-US" sz="3200" b="1">
                <a:solidFill>
                  <a:srgbClr val="C00000"/>
                </a:solidFill>
                <a:latin typeface="Times New Roman" panose="02020603050405020304" pitchFamily="18" charset="0"/>
                <a:cs typeface="Times New Roman" panose="02020603050405020304" pitchFamily="18" charset="0"/>
              </a:rPr>
              <a:t>33.150,4 </a:t>
            </a:r>
            <a:r>
              <a:rPr lang="en-US" sz="3200" b="1" err="1">
                <a:solidFill>
                  <a:srgbClr val="C00000"/>
                </a:solidFill>
                <a:latin typeface="Times New Roman" panose="02020603050405020304" pitchFamily="18" charset="0"/>
                <a:cs typeface="Times New Roman" panose="02020603050405020304" pitchFamily="18" charset="0"/>
              </a:rPr>
              <a:t>tỷ</a:t>
            </a:r>
            <a:r>
              <a:rPr lang="en-US" sz="3200" b="1">
                <a:solidFill>
                  <a:srgbClr val="C00000"/>
                </a:solidFill>
                <a:latin typeface="Times New Roman" panose="02020603050405020304" pitchFamily="18" charset="0"/>
                <a:cs typeface="Times New Roman" panose="02020603050405020304" pitchFamily="18" charset="0"/>
              </a:rPr>
              <a:t> đồng           15,1%    </a:t>
            </a:r>
          </a:p>
        </p:txBody>
      </p:sp>
      <p:sp>
        <p:nvSpPr>
          <p:cNvPr id="21" name="TextBox 20">
            <a:extLst>
              <a:ext uri="{FF2B5EF4-FFF2-40B4-BE49-F238E27FC236}">
                <a16:creationId xmlns:a16="http://schemas.microsoft.com/office/drawing/2014/main" xmlns="" id="{594D60B9-0CD0-31D2-BDDF-43AA9FE41EBF}"/>
              </a:ext>
            </a:extLst>
          </p:cNvPr>
          <p:cNvSpPr txBox="1"/>
          <p:nvPr/>
        </p:nvSpPr>
        <p:spPr>
          <a:xfrm>
            <a:off x="1139687" y="1311125"/>
            <a:ext cx="10432203" cy="461665"/>
          </a:xfrm>
          <a:prstGeom prst="rect">
            <a:avLst/>
          </a:prstGeom>
          <a:noFill/>
          <a:effectLst>
            <a:innerShdw blurRad="63500" dist="50800" dir="2700000">
              <a:prstClr val="black">
                <a:alpha val="50000"/>
              </a:prstClr>
            </a:innerShdw>
          </a:effectLst>
        </p:spPr>
        <p:txBody>
          <a:bodyPr wrap="square" rtlCol="0">
            <a:spAutoFit/>
          </a:bodyPr>
          <a:lstStyle/>
          <a:p>
            <a:r>
              <a:rPr kumimoji="0" lang="en-US" sz="2400" b="1" u="none" strike="noStrike" kern="0" cap="none" spc="-10" normalizeH="0" baseline="0" noProof="0">
                <a:ln>
                  <a:noFill/>
                </a:ln>
                <a:solidFill>
                  <a:srgbClr val="381850"/>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ổng mức bán lẻ hàng hóa và doanh thu dịch vụ tiêu dùng 02 tháng đầu năm</a:t>
            </a:r>
            <a:endParaRPr lang="en-US" sz="2400" b="1">
              <a:solidFill>
                <a:srgbClr val="202066"/>
              </a:solidFill>
              <a:latin typeface="Times New Roman" panose="02020603050405020304" pitchFamily="18" charset="0"/>
              <a:cs typeface="Times New Roman" panose="02020603050405020304" pitchFamily="18" charset="0"/>
            </a:endParaRPr>
          </a:p>
        </p:txBody>
      </p:sp>
      <p:sp>
        <p:nvSpPr>
          <p:cNvPr id="22" name="Arrow: Down 59">
            <a:extLst>
              <a:ext uri="{FF2B5EF4-FFF2-40B4-BE49-F238E27FC236}">
                <a16:creationId xmlns:a16="http://schemas.microsoft.com/office/drawing/2014/main" xmlns="" id="{C2F6210E-E023-1A34-F60D-160959C67461}"/>
              </a:ext>
            </a:extLst>
          </p:cNvPr>
          <p:cNvSpPr/>
          <p:nvPr/>
        </p:nvSpPr>
        <p:spPr>
          <a:xfrm rot="10800000">
            <a:off x="6504380" y="1847240"/>
            <a:ext cx="469482" cy="383342"/>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8226390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xmlns="" id="{2370DE8C-E81A-4D58-A227-5CD8F3D79F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5" imgW="351" imgH="351" progId="TCLayout.ActiveDocument.1">
                  <p:embed/>
                </p:oleObj>
              </mc:Choice>
              <mc:Fallback>
                <p:oleObj name="think-cell Slide" r:id="rId5" imgW="351" imgH="351" progId="TCLayout.ActiveDocument.1">
                  <p:embed/>
                  <p:pic>
                    <p:nvPicPr>
                      <p:cNvPr id="7" name="Object 1" hidden="1">
                        <a:extLst>
                          <a:ext uri="{FF2B5EF4-FFF2-40B4-BE49-F238E27FC236}">
                            <a16:creationId xmlns:a16="http://schemas.microsoft.com/office/drawing/2014/main" xmlns="" id="{2370DE8C-E81A-4D58-A227-5CD8F3D79F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xmlns="" id="{C7EF3BED-81DF-2DD1-C4B4-7B19AE4E2F47}"/>
              </a:ext>
            </a:extLst>
          </p:cNvPr>
          <p:cNvSpPr/>
          <p:nvPr/>
        </p:nvSpPr>
        <p:spPr>
          <a:xfrm>
            <a:off x="497498" y="2290909"/>
            <a:ext cx="5078584"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xmlns="" id="{A8ED73C0-6DEB-F036-A81D-A84B4FA62951}"/>
              </a:ext>
            </a:extLst>
          </p:cNvPr>
          <p:cNvSpPr/>
          <p:nvPr/>
        </p:nvSpPr>
        <p:spPr>
          <a:xfrm>
            <a:off x="416503" y="2571102"/>
            <a:ext cx="5240573" cy="1384995"/>
          </a:xfrm>
          <a:prstGeom prst="rect">
            <a:avLst/>
          </a:prstGeom>
        </p:spPr>
        <p:txBody>
          <a:bodyPr wrap="square">
            <a:spAutoFit/>
          </a:bodyPr>
          <a:lstStyle/>
          <a:p>
            <a:pPr algn="ct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PHÁT TRIỂN KINH TẾ - XÃ HỘI THÁNG </a:t>
            </a:r>
            <a:r>
              <a:rPr lang="en-US" sz="28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4</a:t>
            </a: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VÀ </a:t>
            </a:r>
            <a:r>
              <a:rPr lang="en-US" sz="28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4</a:t>
            </a: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THÁNG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xmlns=""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xmlns=""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xmlns=""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xmlns=""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xmlns=""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xmlns="" id="{2F860FAF-9492-55AF-50F0-2841DC9DAD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sky, water, boat, outdoor&#10;&#10;Description automatically generated">
            <a:extLst>
              <a:ext uri="{FF2B5EF4-FFF2-40B4-BE49-F238E27FC236}">
                <a16:creationId xmlns:a16="http://schemas.microsoft.com/office/drawing/2014/main" xmlns="" id="{02B9306E-529A-4AF8-06B9-34FAF79AB840}"/>
              </a:ext>
            </a:extLst>
          </p:cNvPr>
          <p:cNvPicPr>
            <a:picLocks noChangeAspect="1"/>
          </p:cNvPicPr>
          <p:nvPr/>
        </p:nvPicPr>
        <p:blipFill>
          <a:blip r:embed="rId3"/>
          <a:stretch>
            <a:fillRect/>
          </a:stretch>
        </p:blipFill>
        <p:spPr>
          <a:xfrm>
            <a:off x="620343" y="1456235"/>
            <a:ext cx="5572989" cy="4891189"/>
          </a:xfrm>
          <a:prstGeom prst="rect">
            <a:avLst/>
          </a:prstGeom>
          <a:ln>
            <a:noFill/>
          </a:ln>
          <a:effectLst>
            <a:softEdge rad="112500"/>
          </a:effectLst>
        </p:spPr>
      </p:pic>
      <p:grpSp>
        <p:nvGrpSpPr>
          <p:cNvPr id="4" name="Group 3">
            <a:extLst>
              <a:ext uri="{FF2B5EF4-FFF2-40B4-BE49-F238E27FC236}">
                <a16:creationId xmlns:a16="http://schemas.microsoft.com/office/drawing/2014/main" xmlns="" id="{DD6FE299-8573-1A4B-3C63-313A94891E7F}"/>
              </a:ext>
            </a:extLst>
          </p:cNvPr>
          <p:cNvGrpSpPr>
            <a:grpSpLocks/>
          </p:cNvGrpSpPr>
          <p:nvPr/>
        </p:nvGrpSpPr>
        <p:grpSpPr>
          <a:xfrm>
            <a:off x="8504536" y="1627347"/>
            <a:ext cx="3425432" cy="1866883"/>
            <a:chOff x="5344188" y="615842"/>
            <a:chExt cx="2327323" cy="954635"/>
          </a:xfrm>
        </p:grpSpPr>
        <p:grpSp>
          <p:nvGrpSpPr>
            <p:cNvPr id="28" name="Group 27">
              <a:extLst>
                <a:ext uri="{FF2B5EF4-FFF2-40B4-BE49-F238E27FC236}">
                  <a16:creationId xmlns:a16="http://schemas.microsoft.com/office/drawing/2014/main" xmlns="" id="{0B90EE65-5738-4626-8A22-5E90379DC67A}"/>
                </a:ext>
              </a:extLst>
            </p:cNvPr>
            <p:cNvGrpSpPr>
              <a:grpSpLocks/>
            </p:cNvGrpSpPr>
            <p:nvPr/>
          </p:nvGrpSpPr>
          <p:grpSpPr>
            <a:xfrm>
              <a:off x="5344188" y="615842"/>
              <a:ext cx="2327323" cy="954635"/>
              <a:chOff x="2466519" y="326131"/>
              <a:chExt cx="2976909" cy="1381499"/>
            </a:xfrm>
          </p:grpSpPr>
          <p:sp>
            <p:nvSpPr>
              <p:cNvPr id="26" name="Rectangle 25">
                <a:extLst>
                  <a:ext uri="{FF2B5EF4-FFF2-40B4-BE49-F238E27FC236}">
                    <a16:creationId xmlns:a16="http://schemas.microsoft.com/office/drawing/2014/main" xmlns="" id="{E4C1109C-E907-4891-AAC9-9B2777BED936}"/>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27" name="Rectangle 26">
                <a:extLst>
                  <a:ext uri="{FF2B5EF4-FFF2-40B4-BE49-F238E27FC236}">
                    <a16:creationId xmlns:a16="http://schemas.microsoft.com/office/drawing/2014/main" xmlns="" id="{DED54E44-91A3-49A6-8236-3EFCF1989608}"/>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9" name="Google Shape;2624;p37">
              <a:extLst>
                <a:ext uri="{FF2B5EF4-FFF2-40B4-BE49-F238E27FC236}">
                  <a16:creationId xmlns:a16="http://schemas.microsoft.com/office/drawing/2014/main" xmlns="" id="{7264A84C-57F7-F74D-C532-6F7E2AD94E1E}"/>
                </a:ext>
              </a:extLst>
            </p:cNvPr>
            <p:cNvSpPr txBox="1">
              <a:spLocks/>
            </p:cNvSpPr>
            <p:nvPr/>
          </p:nvSpPr>
          <p:spPr>
            <a:xfrm>
              <a:off x="5674126" y="658400"/>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512,9</a:t>
              </a:r>
              <a:r>
                <a:rPr lang="en-US" sz="3200" b="1">
                  <a:latin typeface="Times New Roman" panose="02020603050405020304" pitchFamily="18" charset="0"/>
                  <a:ea typeface="Roboto"/>
                  <a:cs typeface="Times New Roman" panose="02020603050405020304" pitchFamily="18" charset="0"/>
                  <a:sym typeface="Roboto"/>
                </a:rPr>
                <a:t> </a:t>
              </a:r>
              <a:r>
                <a:rPr lang="en-US"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43" name="Google Shape;2623;p37">
              <a:extLst>
                <a:ext uri="{FF2B5EF4-FFF2-40B4-BE49-F238E27FC236}">
                  <a16:creationId xmlns:a16="http://schemas.microsoft.com/office/drawing/2014/main" xmlns="" id="{30203544-5CA4-077B-B78C-B19B96F8FC77}"/>
                </a:ext>
              </a:extLst>
            </p:cNvPr>
            <p:cNvSpPr txBox="1">
              <a:spLocks/>
            </p:cNvSpPr>
            <p:nvPr/>
          </p:nvSpPr>
          <p:spPr>
            <a:xfrm>
              <a:off x="5795546" y="1019198"/>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a:t>
              </a:r>
              <a:r>
                <a:rPr lang="vi-VN" sz="1600" b="1" dirty="0">
                  <a:solidFill>
                    <a:schemeClr val="dk1"/>
                  </a:solidFill>
                  <a:latin typeface="Times New Roman" panose="02020603050405020304" pitchFamily="18" charset="0"/>
                  <a:ea typeface="Roboto"/>
                  <a:cs typeface="Times New Roman" panose="02020603050405020304" pitchFamily="18" charset="0"/>
                  <a:sym typeface="Roboto"/>
                </a:rPr>
                <a:t>xuất</a:t>
              </a:r>
              <a:r>
                <a:rPr lang="en" sz="1600" b="1" dirty="0">
                  <a:solidFill>
                    <a:schemeClr val="dk1"/>
                  </a:solidFill>
                  <a:latin typeface="Times New Roman" panose="02020603050405020304" pitchFamily="18" charset="0"/>
                  <a:ea typeface="Roboto"/>
                  <a:cs typeface="Times New Roman" panose="02020603050405020304" pitchFamily="18" charset="0"/>
                  <a:sym typeface="Roboto"/>
                </a:rPr>
                <a:t>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133"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0,7 %</a:t>
              </a:r>
              <a:endParaRPr lang="en-US" sz="2133"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4" name="Isosceles Triangle 43">
              <a:extLst>
                <a:ext uri="{FF2B5EF4-FFF2-40B4-BE49-F238E27FC236}">
                  <a16:creationId xmlns:a16="http://schemas.microsoft.com/office/drawing/2014/main" xmlns="" id="{50C95BBD-E23A-B1B8-65E6-50F0672F1BF9}"/>
                </a:ext>
              </a:extLst>
            </p:cNvPr>
            <p:cNvSpPr>
              <a:spLocks/>
            </p:cNvSpPr>
            <p:nvPr/>
          </p:nvSpPr>
          <p:spPr>
            <a:xfrm rot="10800000">
              <a:off x="6047804" y="126389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 name="Group 5">
            <a:extLst>
              <a:ext uri="{FF2B5EF4-FFF2-40B4-BE49-F238E27FC236}">
                <a16:creationId xmlns:a16="http://schemas.microsoft.com/office/drawing/2014/main" xmlns="" id="{E56EEAD7-BA7C-5393-023B-57E291DB0A7A}"/>
              </a:ext>
            </a:extLst>
          </p:cNvPr>
          <p:cNvGrpSpPr>
            <a:grpSpLocks/>
          </p:cNvGrpSpPr>
          <p:nvPr/>
        </p:nvGrpSpPr>
        <p:grpSpPr>
          <a:xfrm>
            <a:off x="8480475" y="4068661"/>
            <a:ext cx="3431892" cy="2103099"/>
            <a:chOff x="5346834" y="2051588"/>
            <a:chExt cx="2324678" cy="934772"/>
          </a:xfrm>
        </p:grpSpPr>
        <p:grpSp>
          <p:nvGrpSpPr>
            <p:cNvPr id="40" name="Group 39">
              <a:extLst>
                <a:ext uri="{FF2B5EF4-FFF2-40B4-BE49-F238E27FC236}">
                  <a16:creationId xmlns:a16="http://schemas.microsoft.com/office/drawing/2014/main" xmlns="" id="{BE3E5856-2A5B-1525-172D-221374DB900C}"/>
                </a:ext>
              </a:extLst>
            </p:cNvPr>
            <p:cNvGrpSpPr>
              <a:grpSpLocks/>
            </p:cNvGrpSpPr>
            <p:nvPr/>
          </p:nvGrpSpPr>
          <p:grpSpPr>
            <a:xfrm>
              <a:off x="5346834" y="2051588"/>
              <a:ext cx="2324678" cy="912070"/>
              <a:chOff x="2466519" y="326131"/>
              <a:chExt cx="2976909" cy="1381499"/>
            </a:xfrm>
          </p:grpSpPr>
          <p:sp>
            <p:nvSpPr>
              <p:cNvPr id="41" name="Rectangle 40">
                <a:extLst>
                  <a:ext uri="{FF2B5EF4-FFF2-40B4-BE49-F238E27FC236}">
                    <a16:creationId xmlns:a16="http://schemas.microsoft.com/office/drawing/2014/main" xmlns="" id="{F77FA335-6173-114D-DB59-E0B0D744875D}"/>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42" name="Rectangle 41">
                <a:extLst>
                  <a:ext uri="{FF2B5EF4-FFF2-40B4-BE49-F238E27FC236}">
                    <a16:creationId xmlns:a16="http://schemas.microsoft.com/office/drawing/2014/main" xmlns="" id="{9BF3F1D0-FD69-04F3-1CB0-90127AAFA987}"/>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 name="Google Shape;2624;p37">
              <a:extLst>
                <a:ext uri="{FF2B5EF4-FFF2-40B4-BE49-F238E27FC236}">
                  <a16:creationId xmlns:a16="http://schemas.microsoft.com/office/drawing/2014/main" xmlns="" id="{E99E09BE-73DB-3EA0-743A-B6780F7EC077}"/>
                </a:ext>
              </a:extLst>
            </p:cNvPr>
            <p:cNvSpPr txBox="1">
              <a:spLocks/>
            </p:cNvSpPr>
            <p:nvPr/>
          </p:nvSpPr>
          <p:spPr>
            <a:xfrm>
              <a:off x="5675100" y="2100957"/>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115,8</a:t>
              </a:r>
              <a:r>
                <a:rPr lang="en-US" sz="3200" b="1">
                  <a:latin typeface="Times New Roman" panose="02020603050405020304" pitchFamily="18" charset="0"/>
                  <a:ea typeface="Roboto"/>
                  <a:cs typeface="Times New Roman" panose="02020603050405020304" pitchFamily="18" charset="0"/>
                  <a:sym typeface="Roboto"/>
                </a:rPr>
                <a:t> </a:t>
              </a:r>
              <a:r>
                <a:rPr lang="en-US" sz="1200"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sz="1200"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7" name="Google Shape;2623;p37">
              <a:extLst>
                <a:ext uri="{FF2B5EF4-FFF2-40B4-BE49-F238E27FC236}">
                  <a16:creationId xmlns:a16="http://schemas.microsoft.com/office/drawing/2014/main" xmlns="" id="{819C62AF-660F-4A4C-8D60-DED895CA4F86}"/>
                </a:ext>
              </a:extLst>
            </p:cNvPr>
            <p:cNvSpPr txBox="1">
              <a:spLocks/>
            </p:cNvSpPr>
            <p:nvPr/>
          </p:nvSpPr>
          <p:spPr>
            <a:xfrm>
              <a:off x="5896459" y="2440216"/>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nhập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400"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1,9%</a:t>
              </a:r>
              <a:endParaRPr lang="en-US" sz="2400"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5" name="Isosceles Triangle 44">
              <a:extLst>
                <a:ext uri="{FF2B5EF4-FFF2-40B4-BE49-F238E27FC236}">
                  <a16:creationId xmlns:a16="http://schemas.microsoft.com/office/drawing/2014/main" xmlns="" id="{CFBD9A4B-0FDC-858C-D3AD-8AD513C11683}"/>
                </a:ext>
              </a:extLst>
            </p:cNvPr>
            <p:cNvSpPr>
              <a:spLocks/>
            </p:cNvSpPr>
            <p:nvPr/>
          </p:nvSpPr>
          <p:spPr>
            <a:xfrm rot="10800000">
              <a:off x="6137876" y="266823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descr="A picture containing arrow&#10;&#10;Description automatically generated">
            <a:extLst>
              <a:ext uri="{FF2B5EF4-FFF2-40B4-BE49-F238E27FC236}">
                <a16:creationId xmlns:a16="http://schemas.microsoft.com/office/drawing/2014/main" xmlns="" id="{1E5AC274-1FDC-ED10-46A7-61EEC50075A0}"/>
              </a:ext>
            </a:extLst>
          </p:cNvPr>
          <p:cNvPicPr>
            <a:picLocks noChangeAspect="1"/>
          </p:cNvPicPr>
          <p:nvPr/>
        </p:nvPicPr>
        <p:blipFill>
          <a:blip r:embed="rId4"/>
          <a:stretch>
            <a:fillRect/>
          </a:stretch>
        </p:blipFill>
        <p:spPr>
          <a:xfrm>
            <a:off x="6407240" y="4021736"/>
            <a:ext cx="1865786" cy="20204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xmlns="" id="{5FCB53AA-6BFD-342E-CE53-282CBE00B9C3}"/>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405187" y="1627347"/>
            <a:ext cx="1863217" cy="18381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a:extLst>
              <a:ext uri="{FF2B5EF4-FFF2-40B4-BE49-F238E27FC236}">
                <a16:creationId xmlns:a16="http://schemas.microsoft.com/office/drawing/2014/main" xmlns="" id="{5B050C0E-6F0A-3A34-5DE6-722AD68E3AD2}"/>
              </a:ext>
            </a:extLst>
          </p:cNvPr>
          <p:cNvSpPr txBox="1"/>
          <p:nvPr/>
        </p:nvSpPr>
        <p:spPr>
          <a:xfrm>
            <a:off x="1371601" y="168044"/>
            <a:ext cx="6096000" cy="584775"/>
          </a:xfrm>
          <a:prstGeom prst="rect">
            <a:avLst/>
          </a:prstGeom>
          <a:noFill/>
        </p:spPr>
        <p:txBody>
          <a:bodyPr wrap="square">
            <a:spAutoFit/>
          </a:bodyPr>
          <a:lstStyle/>
          <a:p>
            <a:pPr indent="-457200">
              <a:buFont typeface="Wingdings" panose="05000000000000000000" pitchFamily="2" charset="2"/>
              <a:buChar char="Ø"/>
            </a:pPr>
            <a:r>
              <a:rPr lang="de-DE" sz="3200" b="1">
                <a:latin typeface="Times New Roman" panose="02020603050405020304" pitchFamily="18" charset="0"/>
                <a:cs typeface="Times New Roman" panose="02020603050405020304" pitchFamily="18" charset="0"/>
              </a:rPr>
              <a:t>Xuất, nhập khẩu hàng hóa </a:t>
            </a:r>
            <a:endParaRPr lang="en-US" sz="3200" b="1" kern="0" spc="-10">
              <a:solidFill>
                <a:prstClr val="black"/>
              </a:solidFill>
              <a:ea typeface="Times New Roman" panose="02020603050405020304" pitchFamily="18" charset="0"/>
            </a:endParaRPr>
          </a:p>
        </p:txBody>
      </p:sp>
    </p:spTree>
    <p:extLst>
      <p:ext uri="{BB962C8B-B14F-4D97-AF65-F5344CB8AC3E}">
        <p14:creationId xmlns:p14="http://schemas.microsoft.com/office/powerpoint/2010/main" val="1100242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01DC26C3-E6F4-C27A-8624-3A65D81B6008}"/>
              </a:ext>
            </a:extLst>
          </p:cNvPr>
          <p:cNvSpPr/>
          <p:nvPr/>
        </p:nvSpPr>
        <p:spPr>
          <a:xfrm>
            <a:off x="1119324" y="348983"/>
            <a:ext cx="1982915"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3.2. </a:t>
            </a:r>
            <a:r>
              <a:rPr lang="en-US" sz="2800" b="1" spc="-20" dirty="0" err="1">
                <a:solidFill>
                  <a:srgbClr val="100717"/>
                </a:solidFill>
                <a:latin typeface="Times New Roman" panose="02020603050405020304" pitchFamily="18" charset="0"/>
                <a:cs typeface="Times New Roman" panose="02020603050405020304" pitchFamily="18" charset="0"/>
              </a:rPr>
              <a:t>Dị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vụ</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437516295"/>
              </p:ext>
            </p:extLst>
          </p:nvPr>
        </p:nvGraphicFramePr>
        <p:xfrm>
          <a:off x="279633" y="1380481"/>
          <a:ext cx="6573352" cy="4671261"/>
        </p:xfrm>
        <a:graphic>
          <a:graphicData uri="http://schemas.openxmlformats.org/drawingml/2006/table">
            <a:tbl>
              <a:tblPr firstRow="1" bandRow="1"/>
              <a:tblGrid>
                <a:gridCol w="6573352">
                  <a:extLst>
                    <a:ext uri="{9D8B030D-6E8A-4147-A177-3AD203B41FA5}">
                      <a16:colId xmlns:a16="http://schemas.microsoft.com/office/drawing/2014/main" xmlns="" val="3655493598"/>
                    </a:ext>
                  </a:extLst>
                </a:gridCol>
              </a:tblGrid>
              <a:tr h="22896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Du lịch: Đã tổ chức tốt Lễ hội du lịch Bình Định năm 2023 với chủ đề “Quy Nhơn - Thiên đường biển - Rực rỡ sắc màu”</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Tổ chức nhiều hoạt động văn hoá, nghệ thuật và thể dục – thể thao, thu hút đông đảo Nhân dân và du khách như: Lễ hội khinh khí cầu, các sự kiện âm nhạc...</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Lũy kế 4 tháng đầu năm, ngành </a:t>
                      </a:r>
                      <a:r>
                        <a:rPr lang="vi-VN" sz="1800" b="0" kern="1200">
                          <a:solidFill>
                            <a:schemeClr val="dk1"/>
                          </a:solidFill>
                          <a:effectLst/>
                          <a:latin typeface="Times New Roman" panose="02020603050405020304" pitchFamily="18" charset="0"/>
                          <a:ea typeface="+mn-ea"/>
                          <a:cs typeface="Times New Roman" panose="02020603050405020304" pitchFamily="18" charset="0"/>
                        </a:rPr>
                        <a:t>d</a:t>
                      </a:r>
                      <a:r>
                        <a:rPr lang="en-US" sz="1800" b="0" kern="1200">
                          <a:solidFill>
                            <a:schemeClr val="dk1"/>
                          </a:solidFill>
                          <a:effectLst/>
                          <a:latin typeface="Times New Roman" panose="02020603050405020304" pitchFamily="18" charset="0"/>
                          <a:ea typeface="+mn-ea"/>
                          <a:cs typeface="Times New Roman" panose="02020603050405020304" pitchFamily="18" charset="0"/>
                        </a:rPr>
                        <a:t>u lịch ước đón được 1,7 triệu lượt khách, tăng 26,1%; doanh thu du lịch đạt 3.453 tỷ đồng, tăng 85%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Riêng dịp lễ 30/4 và 1/5 ước đón được 249,7 nghìn lượt khách du lịch, tăng 8,3%; tổng doanh thu ước đạt 257,2 tỷ đồng, tăng 13,3%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Chủ yếu là khách du lịch nội địa, đến từ các địa phương: Hà Nội, TP Hồ Chí Minh, Gia Lai, Kon Tum, Ðăk Lăk, các tỉnh phía Bắc…</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1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pic>
        <p:nvPicPr>
          <p:cNvPr id="7" name="Picture 6" descr="A group of hot air balloons&#10;&#10;Description automatically generated with medium confidence">
            <a:extLst>
              <a:ext uri="{FF2B5EF4-FFF2-40B4-BE49-F238E27FC236}">
                <a16:creationId xmlns:a16="http://schemas.microsoft.com/office/drawing/2014/main" xmlns="" id="{D950AC00-2D36-8436-B3E5-8F968D8708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7420" y="830510"/>
            <a:ext cx="4712725" cy="2650908"/>
          </a:xfrm>
          <a:prstGeom prst="rect">
            <a:avLst/>
          </a:prstGeom>
        </p:spPr>
      </p:pic>
      <p:pic>
        <p:nvPicPr>
          <p:cNvPr id="14" name="Picture 13" descr="A crowd of people in a stadium&#10;&#10;Description automatically generated with low confidence">
            <a:extLst>
              <a:ext uri="{FF2B5EF4-FFF2-40B4-BE49-F238E27FC236}">
                <a16:creationId xmlns:a16="http://schemas.microsoft.com/office/drawing/2014/main" xmlns="" id="{590A3D13-B1C7-D1CF-5F2E-1F4ED31084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19" y="3697539"/>
            <a:ext cx="4712725" cy="2885638"/>
          </a:xfrm>
          <a:prstGeom prst="rect">
            <a:avLst/>
          </a:prstGeom>
        </p:spPr>
      </p:pic>
    </p:spTree>
    <p:extLst>
      <p:ext uri="{BB962C8B-B14F-4D97-AF65-F5344CB8AC3E}">
        <p14:creationId xmlns:p14="http://schemas.microsoft.com/office/powerpoint/2010/main" val="1783682046"/>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xmlns=""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xmlns=""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dirty="0">
                <a:solidFill>
                  <a:srgbClr val="C00000"/>
                </a:solidFill>
                <a:latin typeface="Times New Roman" panose="02020603050405020304" pitchFamily="18" charset="0"/>
                <a:cs typeface="Times New Roman" panose="02020603050405020304" pitchFamily="18" charset="0"/>
              </a:rPr>
              <a:t>2.233,8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ạt</a:t>
            </a:r>
            <a:r>
              <a:rPr lang="en-US" sz="2400" b="1" dirty="0">
                <a:solidFill>
                  <a:srgbClr val="C00000"/>
                </a:solidFill>
                <a:latin typeface="Times New Roman" panose="02020603050405020304" pitchFamily="18" charset="0"/>
                <a:cs typeface="Times New Roman" panose="02020603050405020304" pitchFamily="18" charset="0"/>
              </a:rPr>
              <a:t> 32,2%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dirty="0">
                <a:solidFill>
                  <a:srgbClr val="C00000"/>
                </a:solidFill>
                <a:latin typeface="Times New Roman" panose="02020603050405020304" pitchFamily="18" charset="0"/>
                <a:cs typeface="Times New Roman" panose="02020603050405020304" pitchFamily="18" charset="0"/>
              </a:rPr>
              <a:t>5,1%</a:t>
            </a: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673486" y="3077662"/>
            <a:ext cx="4475483" cy="830997"/>
          </a:xfrm>
          <a:prstGeom prst="rect">
            <a:avLst/>
          </a:prstGeom>
          <a:noFill/>
        </p:spPr>
        <p:txBody>
          <a:bodyPr wrap="square" rtlCol="0">
            <a:spAutoFit/>
          </a:bodyPr>
          <a:lstStyle/>
          <a:p>
            <a:pPr algn="ctr"/>
            <a:r>
              <a:rPr lang="en-US" sz="2400" b="1" dirty="0">
                <a:solidFill>
                  <a:srgbClr val="C00000"/>
                </a:solidFill>
                <a:latin typeface="Times New Roman" panose="02020603050405020304" pitchFamily="18" charset="0"/>
                <a:cs typeface="Times New Roman" panose="02020603050405020304" pitchFamily="18" charset="0"/>
              </a:rPr>
              <a:t>529,6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ạt</a:t>
            </a:r>
            <a:r>
              <a:rPr lang="en-US" sz="2400" b="1" dirty="0">
                <a:solidFill>
                  <a:srgbClr val="C00000"/>
                </a:solidFill>
                <a:latin typeface="Times New Roman" panose="02020603050405020304" pitchFamily="18" charset="0"/>
                <a:cs typeface="Times New Roman" panose="02020603050405020304" pitchFamily="18" charset="0"/>
              </a:rPr>
              <a:t> 9,6%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dirty="0">
                <a:solidFill>
                  <a:srgbClr val="C00000"/>
                </a:solidFill>
                <a:latin typeface="Times New Roman" panose="02020603050405020304" pitchFamily="18" charset="0"/>
                <a:cs typeface="Times New Roman" panose="02020603050405020304" pitchFamily="18" charset="0"/>
              </a:rPr>
              <a:t>76,3%</a:t>
            </a:r>
          </a:p>
        </p:txBody>
      </p:sp>
      <p:sp>
        <p:nvSpPr>
          <p:cNvPr id="730" name="Arrow: Down 59">
            <a:extLst>
              <a:ext uri="{FF2B5EF4-FFF2-40B4-BE49-F238E27FC236}">
                <a16:creationId xmlns:a16="http://schemas.microsoft.com/office/drawing/2014/main" xmlns=""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xmlns="" id="{80607D77-8D89-B2B8-17A1-5EC409702721}"/>
              </a:ext>
            </a:extLst>
          </p:cNvPr>
          <p:cNvSpPr/>
          <p:nvPr/>
        </p:nvSpPr>
        <p:spPr>
          <a:xfrm>
            <a:off x="177757" y="2060553"/>
            <a:ext cx="3983309"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xmlns=""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dirty="0">
                <a:solidFill>
                  <a:srgbClr val="C00000"/>
                </a:solidFill>
                <a:latin typeface="Times New Roman" panose="02020603050405020304" pitchFamily="18" charset="0"/>
                <a:cs typeface="Times New Roman" panose="02020603050405020304" pitchFamily="18" charset="0"/>
              </a:rPr>
              <a:t>2.971,7 </a:t>
            </a:r>
            <a:r>
              <a:rPr lang="en-US" sz="2200" b="1" dirty="0" err="1">
                <a:solidFill>
                  <a:srgbClr val="C00000"/>
                </a:solidFill>
                <a:latin typeface="Times New Roman" panose="02020603050405020304" pitchFamily="18" charset="0"/>
                <a:cs typeface="Times New Roman" panose="02020603050405020304" pitchFamily="18" charset="0"/>
              </a:rPr>
              <a:t>tỷ</a:t>
            </a:r>
            <a:r>
              <a:rPr lang="en-US" sz="2200" b="1" dirty="0">
                <a:solidFill>
                  <a:srgbClr val="C00000"/>
                </a:solidFill>
                <a:latin typeface="Times New Roman" panose="02020603050405020304" pitchFamily="18" charset="0"/>
                <a:cs typeface="Times New Roman" panose="02020603050405020304" pitchFamily="18" charset="0"/>
              </a:rPr>
              <a:t> </a:t>
            </a:r>
            <a:r>
              <a:rPr lang="en-US" sz="2200" b="1" dirty="0" err="1">
                <a:solidFill>
                  <a:srgbClr val="C00000"/>
                </a:solidFill>
                <a:latin typeface="Times New Roman" panose="02020603050405020304" pitchFamily="18" charset="0"/>
                <a:cs typeface="Times New Roman" panose="02020603050405020304" pitchFamily="18" charset="0"/>
              </a:rPr>
              <a:t>đồng</a:t>
            </a:r>
            <a:r>
              <a:rPr lang="en-US" sz="2200" b="1" dirty="0">
                <a:solidFill>
                  <a:srgbClr val="C00000"/>
                </a:solidFill>
                <a:latin typeface="Times New Roman" panose="02020603050405020304" pitchFamily="18" charset="0"/>
                <a:cs typeface="Times New Roman" panose="02020603050405020304" pitchFamily="18" charset="0"/>
              </a:rPr>
              <a:t>, </a:t>
            </a:r>
            <a:r>
              <a:rPr lang="en-US" sz="2200" b="1" dirty="0" err="1">
                <a:solidFill>
                  <a:srgbClr val="C00000"/>
                </a:solidFill>
                <a:latin typeface="Times New Roman" panose="02020603050405020304" pitchFamily="18" charset="0"/>
                <a:cs typeface="Times New Roman" panose="02020603050405020304" pitchFamily="18" charset="0"/>
              </a:rPr>
              <a:t>đạt</a:t>
            </a:r>
            <a:r>
              <a:rPr lang="en-US" sz="2200" b="1" dirty="0">
                <a:solidFill>
                  <a:srgbClr val="C00000"/>
                </a:solidFill>
                <a:latin typeface="Times New Roman" panose="02020603050405020304" pitchFamily="18" charset="0"/>
                <a:cs typeface="Times New Roman" panose="02020603050405020304" pitchFamily="18" charset="0"/>
              </a:rPr>
              <a:t> 21,8% </a:t>
            </a:r>
            <a:r>
              <a:rPr lang="en-US" b="1" dirty="0" err="1">
                <a:solidFill>
                  <a:srgbClr val="C00000"/>
                </a:solidFill>
                <a:latin typeface="Times New Roman" panose="02020603050405020304" pitchFamily="18" charset="0"/>
                <a:cs typeface="Times New Roman" panose="02020603050405020304" pitchFamily="18" charset="0"/>
              </a:rPr>
              <a:t>dự</a:t>
            </a:r>
            <a:r>
              <a:rPr lang="en-US" b="1" dirty="0">
                <a:solidFill>
                  <a:srgbClr val="C00000"/>
                </a:solidFill>
                <a:latin typeface="Times New Roman" panose="02020603050405020304" pitchFamily="18" charset="0"/>
                <a:cs typeface="Times New Roman" panose="02020603050405020304" pitchFamily="18" charset="0"/>
              </a:rPr>
              <a:t> </a:t>
            </a:r>
            <a:r>
              <a:rPr lang="en-US" b="1" dirty="0" err="1">
                <a:solidFill>
                  <a:srgbClr val="C00000"/>
                </a:solidFill>
                <a:latin typeface="Times New Roman" panose="02020603050405020304" pitchFamily="18" charset="0"/>
                <a:cs typeface="Times New Roman" panose="02020603050405020304" pitchFamily="18" charset="0"/>
              </a:rPr>
              <a:t>toán</a:t>
            </a:r>
            <a:endParaRPr lang="en-US" b="1" dirty="0">
              <a:solidFill>
                <a:srgbClr val="C00000"/>
              </a:solidFill>
              <a:latin typeface="Times New Roman" panose="02020603050405020304" pitchFamily="18" charset="0"/>
              <a:cs typeface="Times New Roman" panose="02020603050405020304" pitchFamily="18" charset="0"/>
            </a:endParaRPr>
          </a:p>
          <a:p>
            <a:pPr algn="ctr"/>
            <a:r>
              <a:rPr lang="en-US" b="1" dirty="0">
                <a:solidFill>
                  <a:srgbClr val="C00000"/>
                </a:solidFill>
                <a:latin typeface="Times New Roman" panose="02020603050405020304" pitchFamily="18" charset="0"/>
                <a:cs typeface="Times New Roman" panose="02020603050405020304" pitchFamily="18" charset="0"/>
              </a:rPr>
              <a:t>      </a:t>
            </a:r>
            <a:r>
              <a:rPr lang="en-US" sz="2400" b="1" dirty="0">
                <a:solidFill>
                  <a:srgbClr val="C00000"/>
                </a:solidFill>
                <a:latin typeface="Times New Roman" panose="02020603050405020304" pitchFamily="18" charset="0"/>
                <a:cs typeface="Times New Roman" panose="02020603050405020304" pitchFamily="18" charset="0"/>
              </a:rPr>
              <a:t>41,2%</a:t>
            </a:r>
            <a:endParaRPr lang="en-US" b="1" dirty="0">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xmlns=""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xmlns="" id="{CFB1DF66-0E98-FC84-B508-AAB8AC25D4B3}"/>
              </a:ext>
            </a:extLst>
          </p:cNvPr>
          <p:cNvSpPr/>
          <p:nvPr/>
        </p:nvSpPr>
        <p:spPr>
          <a:xfrm>
            <a:off x="1597810" y="3028982"/>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xmlns=""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xmlns=""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xmlns=""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dirty="0">
                <a:solidFill>
                  <a:srgbClr val="C00000"/>
                </a:solidFill>
                <a:latin typeface="Times New Roman" panose="02020603050405020304" pitchFamily="18" charset="0"/>
                <a:cs typeface="Times New Roman" panose="02020603050405020304" pitchFamily="18" charset="0"/>
              </a:rPr>
              <a:t>90,6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ạt</a:t>
            </a:r>
            <a:r>
              <a:rPr lang="en-US" sz="2400" b="1" dirty="0">
                <a:solidFill>
                  <a:srgbClr val="C00000"/>
                </a:solidFill>
                <a:latin typeface="Times New Roman" panose="02020603050405020304" pitchFamily="18" charset="0"/>
                <a:cs typeface="Times New Roman" panose="02020603050405020304" pitchFamily="18" charset="0"/>
              </a:rPr>
              <a:t> 9,1%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dirty="0">
                <a:solidFill>
                  <a:srgbClr val="C00000"/>
                </a:solidFill>
                <a:latin typeface="Times New Roman" panose="02020603050405020304" pitchFamily="18" charset="0"/>
                <a:cs typeface="Times New Roman" panose="02020603050405020304" pitchFamily="18" charset="0"/>
              </a:rPr>
              <a:t>     77,7%</a:t>
            </a:r>
          </a:p>
        </p:txBody>
      </p:sp>
      <p:sp>
        <p:nvSpPr>
          <p:cNvPr id="19" name="Arrow: Down 18">
            <a:extLst>
              <a:ext uri="{FF2B5EF4-FFF2-40B4-BE49-F238E27FC236}">
                <a16:creationId xmlns:a16="http://schemas.microsoft.com/office/drawing/2014/main" xmlns="" id="{122A9A1C-AFFE-3821-B2D0-B1BF037AF2EA}"/>
              </a:ext>
            </a:extLst>
          </p:cNvPr>
          <p:cNvSpPr/>
          <p:nvPr/>
        </p:nvSpPr>
        <p:spPr>
          <a:xfrm>
            <a:off x="8416033" y="2066074"/>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0" name="Arrow: Down 19">
            <a:extLst>
              <a:ext uri="{FF2B5EF4-FFF2-40B4-BE49-F238E27FC236}">
                <a16:creationId xmlns:a16="http://schemas.microsoft.com/office/drawing/2014/main" xmlns="" id="{9EFE970E-0B98-B556-3A4B-E26C7CAD10CA}"/>
              </a:ext>
            </a:extLst>
          </p:cNvPr>
          <p:cNvSpPr/>
          <p:nvPr/>
        </p:nvSpPr>
        <p:spPr>
          <a:xfrm>
            <a:off x="8102699" y="5108088"/>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cxnSp>
        <p:nvCxnSpPr>
          <p:cNvPr id="22" name="Straight Arrow Connector 21">
            <a:extLst>
              <a:ext uri="{FF2B5EF4-FFF2-40B4-BE49-F238E27FC236}">
                <a16:creationId xmlns:a16="http://schemas.microsoft.com/office/drawing/2014/main" xmlns=""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xmlns=""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xmlns=""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xmlns=""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dirty="0" err="1">
                <a:solidFill>
                  <a:srgbClr val="002060"/>
                </a:solidFill>
                <a:latin typeface="Times New Roman" panose="02020603050405020304" pitchFamily="18" charset="0"/>
                <a:cs typeface="Times New Roman" panose="02020603050405020304" pitchFamily="18" charset="0"/>
              </a:rPr>
              <a:t>Tổng</a:t>
            </a:r>
            <a:r>
              <a:rPr lang="en-US" sz="2400" b="1" dirty="0">
                <a:solidFill>
                  <a:srgbClr val="002060"/>
                </a:solidFill>
                <a:latin typeface="Times New Roman" panose="02020603050405020304" pitchFamily="18" charset="0"/>
                <a:cs typeface="Times New Roman" panose="02020603050405020304" pitchFamily="18" charset="0"/>
              </a:rPr>
              <a:t> chi </a:t>
            </a:r>
            <a:r>
              <a:rPr lang="en-US" sz="2400" b="1" dirty="0" err="1">
                <a:solidFill>
                  <a:srgbClr val="002060"/>
                </a:solidFill>
                <a:latin typeface="Times New Roman" panose="02020603050405020304" pitchFamily="18" charset="0"/>
                <a:cs typeface="Times New Roman" panose="02020603050405020304" pitchFamily="18" charset="0"/>
              </a:rPr>
              <a:t>ngân</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sách</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hà</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5.518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ạt</a:t>
            </a:r>
            <a:r>
              <a:rPr lang="en-US" sz="2400" b="1" dirty="0">
                <a:solidFill>
                  <a:srgbClr val="C00000"/>
                </a:solidFill>
                <a:latin typeface="Times New Roman" panose="02020603050405020304" pitchFamily="18" charset="0"/>
                <a:cs typeface="Times New Roman" panose="02020603050405020304" pitchFamily="18" charset="0"/>
              </a:rPr>
              <a:t> 29,5%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5,4%</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dirty="0">
                <a:solidFill>
                  <a:srgbClr val="002060"/>
                </a:solidFill>
                <a:latin typeface="Times New Roman" panose="02020603050405020304" pitchFamily="18" charset="0"/>
                <a:cs typeface="Times New Roman" panose="02020603050405020304" pitchFamily="18" charset="0"/>
              </a:rPr>
              <a:t> </a:t>
            </a:r>
          </a:p>
        </p:txBody>
      </p:sp>
      <p:sp>
        <p:nvSpPr>
          <p:cNvPr id="7" name="Arrow: Down 6">
            <a:extLst>
              <a:ext uri="{FF2B5EF4-FFF2-40B4-BE49-F238E27FC236}">
                <a16:creationId xmlns:a16="http://schemas.microsoft.com/office/drawing/2014/main" xmlns="" id="{64BE4B93-62E9-2F63-31E4-4FC00E3A7867}"/>
              </a:ext>
            </a:extLst>
          </p:cNvPr>
          <p:cNvSpPr/>
          <p:nvPr/>
        </p:nvSpPr>
        <p:spPr>
          <a:xfrm rot="10800000">
            <a:off x="10199953" y="6006600"/>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7" name="Rectangle 26">
            <a:extLst>
              <a:ext uri="{FF2B5EF4-FFF2-40B4-BE49-F238E27FC236}">
                <a16:creationId xmlns:a16="http://schemas.microsoft.com/office/drawing/2014/main" xmlns="" id="{01DC26C3-E6F4-C27A-8624-3A65D81B6008}"/>
              </a:ext>
            </a:extLst>
          </p:cNvPr>
          <p:cNvSpPr/>
          <p:nvPr/>
        </p:nvSpPr>
        <p:spPr>
          <a:xfrm>
            <a:off x="1166275" y="413377"/>
            <a:ext cx="225023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3.3. </a:t>
            </a:r>
            <a:r>
              <a:rPr lang="en-US" sz="2800" b="1" spc="-20" dirty="0" err="1">
                <a:solidFill>
                  <a:srgbClr val="100717"/>
                </a:solidFill>
                <a:latin typeface="Times New Roman" panose="02020603050405020304" pitchFamily="18" charset="0"/>
                <a:cs typeface="Times New Roman" panose="02020603050405020304" pitchFamily="18" charset="0"/>
              </a:rPr>
              <a:t>Tà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115635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xmlns="" id="{A7706305-8775-399E-5BBA-BC4870FA15F6}"/>
              </a:ext>
            </a:extLst>
          </p:cNvPr>
          <p:cNvSpPr txBox="1"/>
          <p:nvPr/>
        </p:nvSpPr>
        <p:spPr>
          <a:xfrm>
            <a:off x="884744" y="306915"/>
            <a:ext cx="8506790" cy="584775"/>
          </a:xfrm>
          <a:prstGeom prst="rect">
            <a:avLst/>
          </a:prstGeom>
          <a:noFill/>
        </p:spPr>
        <p:txBody>
          <a:bodyPr wrap="square">
            <a:spAutoFit/>
          </a:bodyPr>
          <a:lstStyle/>
          <a:p>
            <a:pPr indent="-457200">
              <a:buFont typeface="Wingdings" panose="05000000000000000000" pitchFamily="2" charset="2"/>
              <a:buChar char="Ø"/>
            </a:pPr>
            <a:r>
              <a:rPr lang="de-DE" sz="3200" b="1" dirty="0">
                <a:latin typeface="Times New Roman" panose="02020603050405020304" pitchFamily="18" charset="0"/>
                <a:cs typeface="Times New Roman" panose="02020603050405020304" pitchFamily="18" charset="0"/>
              </a:rPr>
              <a:t>Thu ngân sách </a:t>
            </a:r>
            <a:r>
              <a:rPr lang="vi-VN" sz="3200" b="1" dirty="0">
                <a:latin typeface="Times New Roman" panose="02020603050405020304" pitchFamily="18" charset="0"/>
                <a:cs typeface="Times New Roman" panose="02020603050405020304" pitchFamily="18" charset="0"/>
              </a:rPr>
              <a:t>các huyện, thị xã, thành phố</a:t>
            </a:r>
            <a:endParaRPr lang="en-US" sz="3200" b="1" kern="0" spc="-10" dirty="0">
              <a:solidFill>
                <a:prstClr val="black"/>
              </a:solidFill>
              <a:ea typeface="Times New Roman" panose="02020603050405020304" pitchFamily="18"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517558916"/>
              </p:ext>
            </p:extLst>
          </p:nvPr>
        </p:nvGraphicFramePr>
        <p:xfrm>
          <a:off x="459163" y="1107583"/>
          <a:ext cx="11312127" cy="5625193"/>
        </p:xfrm>
        <a:graphic>
          <a:graphicData uri="http://schemas.openxmlformats.org/presentationml/2006/ole">
            <mc:AlternateContent xmlns:mc="http://schemas.openxmlformats.org/markup-compatibility/2006">
              <mc:Choice xmlns:v="urn:schemas-microsoft-com:vml" Requires="v">
                <p:oleObj spid="_x0000_s10246" name="Worksheet" r:id="rId3" imgW="12725242" imgH="6601017" progId="Excel.Sheet.12">
                  <p:embed/>
                </p:oleObj>
              </mc:Choice>
              <mc:Fallback>
                <p:oleObj name="Worksheet" r:id="rId3" imgW="12725242" imgH="6601017" progId="Excel.Sheet.12">
                  <p:embed/>
                  <p:pic>
                    <p:nvPicPr>
                      <p:cNvPr id="3" name="Object 2"/>
                      <p:cNvPicPr/>
                      <p:nvPr/>
                    </p:nvPicPr>
                    <p:blipFill>
                      <a:blip r:embed="rId4"/>
                      <a:stretch>
                        <a:fillRect/>
                      </a:stretch>
                    </p:blipFill>
                    <p:spPr>
                      <a:xfrm>
                        <a:off x="459163" y="1107583"/>
                        <a:ext cx="11312127" cy="5625193"/>
                      </a:xfrm>
                      <a:prstGeom prst="rect">
                        <a:avLst/>
                      </a:prstGeom>
                    </p:spPr>
                  </p:pic>
                </p:oleObj>
              </mc:Fallback>
            </mc:AlternateContent>
          </a:graphicData>
        </a:graphic>
      </p:graphicFrame>
    </p:spTree>
    <p:extLst>
      <p:ext uri="{BB962C8B-B14F-4D97-AF65-F5344CB8AC3E}">
        <p14:creationId xmlns:p14="http://schemas.microsoft.com/office/powerpoint/2010/main" val="18117011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8105B003-DEFD-4DF8-9500-4D9396C3DACA}"/>
              </a:ext>
            </a:extLst>
          </p:cNvPr>
          <p:cNvSpPr txBox="1"/>
          <p:nvPr/>
        </p:nvSpPr>
        <p:spPr>
          <a:xfrm>
            <a:off x="304800" y="279401"/>
            <a:ext cx="11277600" cy="830997"/>
          </a:xfrm>
          <a:prstGeom prst="rect">
            <a:avLst/>
          </a:prstGeom>
          <a:noFill/>
        </p:spPr>
        <p:txBody>
          <a:bodyPr wrap="square" rtlCol="0">
            <a:spAutoFit/>
          </a:bodyPr>
          <a:lstStyle/>
          <a:p>
            <a:pPr marL="342900" indent="-342900" algn="r">
              <a:buFont typeface="Wingdings" panose="05000000000000000000" pitchFamily="2" charset="2"/>
              <a:buChar char="Ø"/>
            </a:pPr>
            <a:r>
              <a:rPr lang="vi-VN" sz="2400" b="1">
                <a:solidFill>
                  <a:schemeClr val="tx1">
                    <a:lumMod val="85000"/>
                    <a:lumOff val="15000"/>
                  </a:schemeClr>
                </a:solidFill>
                <a:latin typeface="Times New Roman" pitchFamily="18" charset="0"/>
                <a:cs typeface="Times New Roman" pitchFamily="18" charset="0"/>
              </a:rPr>
              <a:t>Dự </a:t>
            </a:r>
            <a:r>
              <a:rPr lang="vi-VN" sz="2400" b="1" dirty="0">
                <a:solidFill>
                  <a:schemeClr val="tx1">
                    <a:lumMod val="85000"/>
                    <a:lumOff val="15000"/>
                  </a:schemeClr>
                </a:solidFill>
                <a:latin typeface="Times New Roman" pitchFamily="18" charset="0"/>
                <a:cs typeface="Times New Roman" pitchFamily="18" charset="0"/>
              </a:rPr>
              <a:t>kiến đánh giá tác động các của chính sách hỗ trợ tài chính </a:t>
            </a:r>
            <a:r>
              <a:rPr lang="vi-VN" sz="2400" b="1">
                <a:solidFill>
                  <a:schemeClr val="tx1">
                    <a:lumMod val="85000"/>
                    <a:lumOff val="15000"/>
                  </a:schemeClr>
                </a:solidFill>
                <a:latin typeface="Times New Roman" pitchFamily="18" charset="0"/>
                <a:cs typeface="Times New Roman" pitchFamily="18" charset="0"/>
              </a:rPr>
              <a:t>của Trung </a:t>
            </a:r>
            <a:r>
              <a:rPr lang="vi-VN" sz="2400" b="1" dirty="0">
                <a:solidFill>
                  <a:schemeClr val="tx1">
                    <a:lumMod val="85000"/>
                    <a:lumOff val="15000"/>
                  </a:schemeClr>
                </a:solidFill>
                <a:latin typeface="Times New Roman" pitchFamily="18" charset="0"/>
                <a:cs typeface="Times New Roman" pitchFamily="18" charset="0"/>
              </a:rPr>
              <a:t>ương tới thu chi </a:t>
            </a:r>
            <a:r>
              <a:rPr lang="en-US" sz="2400" b="1" dirty="0" err="1">
                <a:solidFill>
                  <a:schemeClr val="tx1">
                    <a:lumMod val="85000"/>
                    <a:lumOff val="15000"/>
                  </a:schemeClr>
                </a:solidFill>
                <a:latin typeface="Times New Roman" pitchFamily="18" charset="0"/>
                <a:cs typeface="Times New Roman" pitchFamily="18" charset="0"/>
              </a:rPr>
              <a:t>NSĐP</a:t>
            </a:r>
            <a:endParaRPr lang="en-US" sz="2400" b="1" dirty="0">
              <a:solidFill>
                <a:schemeClr val="tx1">
                  <a:lumMod val="85000"/>
                  <a:lumOff val="15000"/>
                </a:schemeClr>
              </a:solidFill>
              <a:latin typeface="Times New Roman" pitchFamily="18" charset="0"/>
              <a:cs typeface="Times New Roman" pitchFamily="18"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838219101"/>
              </p:ext>
            </p:extLst>
          </p:nvPr>
        </p:nvGraphicFramePr>
        <p:xfrm>
          <a:off x="4775202" y="1295400"/>
          <a:ext cx="7111998" cy="5408970"/>
        </p:xfrm>
        <a:graphic>
          <a:graphicData uri="http://schemas.openxmlformats.org/drawingml/2006/table">
            <a:tbl>
              <a:tblPr firstRow="1" firstCol="1" bandRow="1"/>
              <a:tblGrid>
                <a:gridCol w="1931655">
                  <a:extLst>
                    <a:ext uri="{9D8B030D-6E8A-4147-A177-3AD203B41FA5}">
                      <a16:colId xmlns:a16="http://schemas.microsoft.com/office/drawing/2014/main" xmlns="" val="20000"/>
                    </a:ext>
                  </a:extLst>
                </a:gridCol>
                <a:gridCol w="1404839">
                  <a:extLst>
                    <a:ext uri="{9D8B030D-6E8A-4147-A177-3AD203B41FA5}">
                      <a16:colId xmlns:a16="http://schemas.microsoft.com/office/drawing/2014/main" xmlns="" val="20001"/>
                    </a:ext>
                  </a:extLst>
                </a:gridCol>
                <a:gridCol w="1229235">
                  <a:extLst>
                    <a:ext uri="{9D8B030D-6E8A-4147-A177-3AD203B41FA5}">
                      <a16:colId xmlns:a16="http://schemas.microsoft.com/office/drawing/2014/main" xmlns="" val="20002"/>
                    </a:ext>
                  </a:extLst>
                </a:gridCol>
                <a:gridCol w="1279749">
                  <a:extLst>
                    <a:ext uri="{9D8B030D-6E8A-4147-A177-3AD203B41FA5}">
                      <a16:colId xmlns:a16="http://schemas.microsoft.com/office/drawing/2014/main" xmlns="" val="20003"/>
                    </a:ext>
                  </a:extLst>
                </a:gridCol>
                <a:gridCol w="1266520">
                  <a:extLst>
                    <a:ext uri="{9D8B030D-6E8A-4147-A177-3AD203B41FA5}">
                      <a16:colId xmlns:a16="http://schemas.microsoft.com/office/drawing/2014/main" xmlns="" val="20004"/>
                    </a:ext>
                  </a:extLst>
                </a:gridCol>
              </a:tblGrid>
              <a:tr h="1039047">
                <a:tc rowSpan="2">
                  <a:txBody>
                    <a:bodyPr/>
                    <a:lstStyle/>
                    <a:p>
                      <a:pPr algn="ctr">
                        <a:spcAft>
                          <a:spcPts val="0"/>
                        </a:spcAft>
                      </a:pPr>
                      <a:r>
                        <a:rPr lang="en-US" sz="2100" b="1">
                          <a:solidFill>
                            <a:srgbClr val="000000"/>
                          </a:solidFill>
                          <a:effectLst/>
                          <a:latin typeface="Times New Roman"/>
                          <a:ea typeface="Times New Roman"/>
                        </a:rPr>
                        <a:t>Nội dung</a:t>
                      </a:r>
                      <a:r>
                        <a:rPr lang="en-US" sz="2100">
                          <a:solidFill>
                            <a:srgbClr val="000000"/>
                          </a:solidFill>
                          <a:effectLst/>
                          <a:latin typeface="Times New Roman"/>
                          <a:ea typeface="Times New Roman"/>
                        </a:rPr>
                        <a:t>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spcAft>
                          <a:spcPts val="0"/>
                        </a:spcAft>
                      </a:pPr>
                      <a:r>
                        <a:rPr lang="en-US" sz="2100" b="1" dirty="0" err="1">
                          <a:solidFill>
                            <a:schemeClr val="tx1"/>
                          </a:solidFill>
                          <a:effectLst/>
                          <a:latin typeface="Times New Roman"/>
                          <a:ea typeface="Times New Roman"/>
                        </a:rPr>
                        <a:t>Số</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thu</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ngân</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sách</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nhà</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nước</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trên</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địa</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bàn</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dự</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kiến</a:t>
                      </a:r>
                      <a:r>
                        <a:rPr lang="en-US" sz="2100" b="1" dirty="0">
                          <a:solidFill>
                            <a:schemeClr val="tx1"/>
                          </a:solidFill>
                          <a:effectLst/>
                          <a:latin typeface="Times New Roman"/>
                          <a:ea typeface="Times New Roman"/>
                        </a:rPr>
                        <a:t> </a:t>
                      </a:r>
                      <a:r>
                        <a:rPr lang="en-US" sz="2100" b="1" dirty="0" err="1">
                          <a:solidFill>
                            <a:schemeClr val="tx1"/>
                          </a:solidFill>
                          <a:effectLst/>
                          <a:latin typeface="Times New Roman"/>
                          <a:ea typeface="Times New Roman"/>
                        </a:rPr>
                        <a:t>giảm</a:t>
                      </a:r>
                      <a:endParaRPr lang="en-US" sz="2100" dirty="0">
                        <a:solidFill>
                          <a:schemeClr val="tx1"/>
                        </a:solidFill>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spcAft>
                          <a:spcPts val="0"/>
                        </a:spcAft>
                      </a:pPr>
                      <a:r>
                        <a:rPr lang="en-US" sz="2100" b="1">
                          <a:solidFill>
                            <a:srgbClr val="000000"/>
                          </a:solidFill>
                          <a:effectLst/>
                          <a:latin typeface="Times New Roman"/>
                          <a:ea typeface="Times New Roman"/>
                        </a:rPr>
                        <a:t>Phần giảm tác động đến dự toán ngân sách địa phương</a:t>
                      </a:r>
                      <a:endParaRPr lang="en-US" sz="210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911673">
                <a:tc vMerge="1">
                  <a:txBody>
                    <a:bodyPr/>
                    <a:lstStyle/>
                    <a:p>
                      <a:endParaRPr lang="en-US"/>
                    </a:p>
                  </a:txBody>
                  <a:tcPr/>
                </a:tc>
                <a:tc vMerge="1">
                  <a:txBody>
                    <a:bodyPr/>
                    <a:lstStyle/>
                    <a:p>
                      <a:endParaRPr lang="en-US"/>
                    </a:p>
                  </a:txBody>
                  <a:tcPr/>
                </a:tc>
                <a:tc>
                  <a:txBody>
                    <a:bodyPr/>
                    <a:lstStyle/>
                    <a:p>
                      <a:pPr algn="ctr">
                        <a:spcAft>
                          <a:spcPts val="0"/>
                        </a:spcAft>
                      </a:pPr>
                      <a:r>
                        <a:rPr lang="en-US" sz="2100" b="1">
                          <a:solidFill>
                            <a:srgbClr val="000000"/>
                          </a:solidFill>
                          <a:effectLst/>
                          <a:latin typeface="Times New Roman"/>
                          <a:ea typeface="Times New Roman"/>
                        </a:rPr>
                        <a:t>Tổng số</a:t>
                      </a:r>
                      <a:endParaRPr lang="en-US" sz="210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dirty="0" err="1">
                          <a:solidFill>
                            <a:srgbClr val="000000"/>
                          </a:solidFill>
                          <a:effectLst/>
                          <a:latin typeface="Times New Roman"/>
                          <a:ea typeface="Times New Roman"/>
                        </a:rPr>
                        <a:t>Tỉnh</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dirty="0" err="1">
                          <a:solidFill>
                            <a:srgbClr val="000000"/>
                          </a:solidFill>
                          <a:effectLst/>
                          <a:latin typeface="Times New Roman"/>
                          <a:ea typeface="Times New Roman"/>
                        </a:rPr>
                        <a:t>Huyện</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650240">
                <a:tc>
                  <a:txBody>
                    <a:bodyPr/>
                    <a:lstStyle/>
                    <a:p>
                      <a:pPr>
                        <a:spcAft>
                          <a:spcPts val="0"/>
                        </a:spcAft>
                      </a:pPr>
                      <a:r>
                        <a:rPr lang="en-US" sz="2100" b="1">
                          <a:solidFill>
                            <a:srgbClr val="C00000"/>
                          </a:solidFill>
                          <a:effectLst/>
                          <a:latin typeface="Times New Roman"/>
                          <a:ea typeface="Times New Roman"/>
                        </a:rPr>
                        <a:t>I. Tổng </a:t>
                      </a:r>
                      <a:r>
                        <a:rPr lang="en-US" sz="2100" b="1" dirty="0" err="1">
                          <a:solidFill>
                            <a:srgbClr val="C00000"/>
                          </a:solidFill>
                          <a:effectLst/>
                          <a:latin typeface="Times New Roman"/>
                          <a:ea typeface="Times New Roman"/>
                        </a:rPr>
                        <a:t>cộng</a:t>
                      </a:r>
                      <a:r>
                        <a:rPr lang="en-US" sz="2100" b="1" dirty="0">
                          <a:solidFill>
                            <a:srgbClr val="C00000"/>
                          </a:solidFill>
                          <a:effectLst/>
                          <a:latin typeface="Times New Roman"/>
                          <a:ea typeface="Times New Roman"/>
                        </a:rPr>
                        <a:t> </a:t>
                      </a:r>
                      <a:r>
                        <a:rPr lang="en-US" sz="2100" b="1" dirty="0" err="1">
                          <a:solidFill>
                            <a:srgbClr val="C00000"/>
                          </a:solidFill>
                          <a:effectLst/>
                          <a:latin typeface="Times New Roman"/>
                          <a:ea typeface="Times New Roman"/>
                        </a:rPr>
                        <a:t>giảm</a:t>
                      </a:r>
                      <a:r>
                        <a:rPr lang="en-US" sz="2100" b="1" dirty="0">
                          <a:solidFill>
                            <a:srgbClr val="C00000"/>
                          </a:solidFill>
                          <a:effectLst/>
                          <a:latin typeface="Times New Roman"/>
                          <a:ea typeface="Times New Roman"/>
                        </a:rPr>
                        <a:t> </a:t>
                      </a:r>
                      <a:r>
                        <a:rPr lang="en-US" sz="2100" b="1" err="1">
                          <a:solidFill>
                            <a:srgbClr val="C00000"/>
                          </a:solidFill>
                          <a:effectLst/>
                          <a:latin typeface="Times New Roman"/>
                          <a:ea typeface="Times New Roman"/>
                        </a:rPr>
                        <a:t>thu</a:t>
                      </a:r>
                      <a:r>
                        <a:rPr lang="en-US" sz="2100" b="1">
                          <a:solidFill>
                            <a:srgbClr val="C00000"/>
                          </a:solidFill>
                          <a:effectLst/>
                          <a:latin typeface="Times New Roman"/>
                          <a:ea typeface="Times New Roman"/>
                        </a:rPr>
                        <a:t> </a:t>
                      </a:r>
                      <a:endParaRPr lang="en-US" sz="2100" dirty="0">
                        <a:solidFill>
                          <a:srgbClr val="C00000"/>
                        </a:solidFill>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b="1" dirty="0">
                          <a:solidFill>
                            <a:srgbClr val="C00000"/>
                          </a:solidFill>
                          <a:effectLst/>
                          <a:latin typeface="Times New Roman"/>
                          <a:ea typeface="Times New Roman"/>
                        </a:rPr>
                        <a:t>     956.663 </a:t>
                      </a:r>
                      <a:endParaRPr lang="en-US" sz="2100" dirty="0">
                        <a:solidFill>
                          <a:srgbClr val="C00000"/>
                        </a:solidFill>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b="1">
                          <a:solidFill>
                            <a:srgbClr val="C00000"/>
                          </a:solidFill>
                          <a:effectLst/>
                          <a:latin typeface="Times New Roman"/>
                          <a:ea typeface="Times New Roman"/>
                        </a:rPr>
                        <a:t>  </a:t>
                      </a:r>
                      <a:r>
                        <a:rPr lang="en-US" sz="2100" b="1" dirty="0">
                          <a:solidFill>
                            <a:srgbClr val="C00000"/>
                          </a:solidFill>
                          <a:effectLst/>
                          <a:latin typeface="Times New Roman"/>
                          <a:ea typeface="Times New Roman"/>
                        </a:rPr>
                        <a:t>771.790 </a:t>
                      </a:r>
                      <a:endParaRPr lang="en-US" sz="2100" dirty="0">
                        <a:solidFill>
                          <a:srgbClr val="C00000"/>
                        </a:solidFill>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b="1" dirty="0">
                          <a:solidFill>
                            <a:srgbClr val="C00000"/>
                          </a:solidFill>
                          <a:effectLst/>
                          <a:latin typeface="Times New Roman"/>
                          <a:ea typeface="Times New Roman"/>
                        </a:rPr>
                        <a:t>509.427 </a:t>
                      </a:r>
                      <a:endParaRPr lang="en-US" sz="2100" dirty="0">
                        <a:solidFill>
                          <a:srgbClr val="C00000"/>
                        </a:solidFill>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b="1" dirty="0">
                          <a:solidFill>
                            <a:srgbClr val="C00000"/>
                          </a:solidFill>
                          <a:effectLst/>
                          <a:latin typeface="Times New Roman"/>
                          <a:ea typeface="Times New Roman"/>
                        </a:rPr>
                        <a:t>262.363</a:t>
                      </a:r>
                      <a:endParaRPr lang="en-US" sz="2100" dirty="0">
                        <a:solidFill>
                          <a:srgbClr val="C00000"/>
                        </a:solidFill>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975360">
                <a:tc>
                  <a:txBody>
                    <a:bodyPr/>
                    <a:lstStyle/>
                    <a:p>
                      <a:pPr>
                        <a:spcAft>
                          <a:spcPts val="0"/>
                        </a:spcAft>
                      </a:pPr>
                      <a:r>
                        <a:rPr lang="en-US" sz="2100" dirty="0" err="1">
                          <a:solidFill>
                            <a:srgbClr val="000000"/>
                          </a:solidFill>
                          <a:effectLst/>
                          <a:latin typeface="Times New Roman"/>
                          <a:ea typeface="Times New Roman"/>
                        </a:rPr>
                        <a:t>Thuế</a:t>
                      </a:r>
                      <a:r>
                        <a:rPr lang="en-US" sz="2100" dirty="0">
                          <a:solidFill>
                            <a:srgbClr val="000000"/>
                          </a:solidFill>
                          <a:effectLst/>
                          <a:latin typeface="Times New Roman"/>
                          <a:ea typeface="Times New Roman"/>
                        </a:rPr>
                        <a:t> </a:t>
                      </a:r>
                      <a:r>
                        <a:rPr lang="en-US" sz="2100" err="1">
                          <a:solidFill>
                            <a:srgbClr val="000000"/>
                          </a:solidFill>
                          <a:effectLst/>
                          <a:latin typeface="Times New Roman"/>
                          <a:ea typeface="Times New Roman"/>
                        </a:rPr>
                        <a:t>BVMT</a:t>
                      </a:r>
                      <a:r>
                        <a:rPr lang="en-US" sz="2100">
                          <a:solidFill>
                            <a:srgbClr val="000000"/>
                          </a:solidFill>
                          <a:effectLst/>
                          <a:latin typeface="Times New Roman"/>
                          <a:ea typeface="Times New Roman"/>
                        </a:rPr>
                        <a:t> (trung ương </a:t>
                      </a:r>
                      <a:r>
                        <a:rPr lang="en-US" sz="2100" dirty="0">
                          <a:solidFill>
                            <a:srgbClr val="000000"/>
                          </a:solidFill>
                          <a:effectLst/>
                          <a:latin typeface="Times New Roman"/>
                          <a:ea typeface="Times New Roman"/>
                        </a:rPr>
                        <a:t>40%, </a:t>
                      </a:r>
                      <a:r>
                        <a:rPr lang="en-US" sz="2100" dirty="0" err="1">
                          <a:solidFill>
                            <a:srgbClr val="000000"/>
                          </a:solidFill>
                          <a:effectLst/>
                          <a:latin typeface="Times New Roman"/>
                          <a:ea typeface="Times New Roman"/>
                        </a:rPr>
                        <a:t>tỉnh</a:t>
                      </a:r>
                      <a:r>
                        <a:rPr lang="en-US" sz="2100" dirty="0">
                          <a:solidFill>
                            <a:srgbClr val="000000"/>
                          </a:solidFill>
                          <a:effectLst/>
                          <a:latin typeface="Times New Roman"/>
                          <a:ea typeface="Times New Roman"/>
                        </a:rPr>
                        <a:t> 60%)</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chemeClr val="tx1"/>
                          </a:solidFill>
                          <a:effectLst/>
                          <a:latin typeface="Times New Roman"/>
                          <a:ea typeface="Times New Roman"/>
                        </a:rPr>
                        <a:t>             462.183 </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277.310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277.310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916325">
                <a:tc>
                  <a:txBody>
                    <a:bodyPr/>
                    <a:lstStyle/>
                    <a:p>
                      <a:pPr>
                        <a:spcAft>
                          <a:spcPts val="0"/>
                        </a:spcAft>
                      </a:pPr>
                      <a:r>
                        <a:rPr lang="en-US" sz="2100">
                          <a:solidFill>
                            <a:srgbClr val="000000"/>
                          </a:solidFill>
                          <a:effectLst/>
                          <a:latin typeface="Times New Roman"/>
                          <a:ea typeface="Times New Roman"/>
                        </a:rPr>
                        <a:t>Thuê đất hàng năm</a:t>
                      </a:r>
                      <a:endParaRPr lang="en-US" sz="210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chemeClr val="tx1"/>
                          </a:solidFill>
                          <a:effectLst/>
                          <a:latin typeface="Times New Roman"/>
                          <a:ea typeface="Times New Roman"/>
                        </a:rPr>
                        <a:t>               65.000 </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65.000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65.000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916325">
                <a:tc>
                  <a:txBody>
                    <a:bodyPr/>
                    <a:lstStyle/>
                    <a:p>
                      <a:pPr>
                        <a:spcAft>
                          <a:spcPts val="0"/>
                        </a:spcAft>
                      </a:pPr>
                      <a:r>
                        <a:rPr lang="en-US" sz="2100">
                          <a:solidFill>
                            <a:srgbClr val="000000"/>
                          </a:solidFill>
                          <a:effectLst/>
                          <a:latin typeface="Times New Roman"/>
                          <a:ea typeface="Times New Roman"/>
                        </a:rPr>
                        <a:t>Giảm 2% thuế GTGT</a:t>
                      </a:r>
                      <a:endParaRPr lang="en-US" sz="210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chemeClr val="tx1"/>
                          </a:solidFill>
                          <a:effectLst/>
                          <a:latin typeface="Times New Roman"/>
                          <a:ea typeface="Times New Roman"/>
                        </a:rPr>
                        <a:t>           429.480 </a:t>
                      </a: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429.480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232.117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US" sz="2100" dirty="0">
                          <a:solidFill>
                            <a:srgbClr val="000000"/>
                          </a:solidFill>
                          <a:effectLst/>
                          <a:latin typeface="Times New Roman"/>
                          <a:ea typeface="Times New Roman"/>
                        </a:rPr>
                        <a:t>       197.363 </a:t>
                      </a:r>
                      <a:endParaRPr lang="en-US" sz="2100" dirty="0">
                        <a:effectLst/>
                        <a:latin typeface="Times New Roman"/>
                        <a:ea typeface="Times New Roman"/>
                      </a:endParaRPr>
                    </a:p>
                  </a:txBody>
                  <a:tcPr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3" name="Notched Right Arrow 2"/>
          <p:cNvSpPr/>
          <p:nvPr/>
        </p:nvSpPr>
        <p:spPr>
          <a:xfrm>
            <a:off x="-4619" y="787400"/>
            <a:ext cx="4779819" cy="1524000"/>
          </a:xfrm>
          <a:prstGeom prst="notchedRightArrow">
            <a:avLst>
              <a:gd name="adj1" fmla="val 72297"/>
              <a:gd name="adj2" fmla="val 44459"/>
            </a:avLst>
          </a:prstGeom>
          <a:solidFill>
            <a:schemeClr val="accent6">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2133" dirty="0">
                <a:solidFill>
                  <a:schemeClr val="tx1"/>
                </a:solidFill>
                <a:latin typeface="Times New Roman" pitchFamily="18" charset="0"/>
                <a:cs typeface="Times New Roman" pitchFamily="18" charset="0"/>
              </a:rPr>
              <a:t>Nghị quyết số 30/2022/UBTVQH15 ngày 30/12/2022 của UBTV Quốc hội</a:t>
            </a:r>
            <a:endParaRPr lang="en-US" sz="2133" dirty="0">
              <a:solidFill>
                <a:schemeClr val="tx1"/>
              </a:solidFill>
              <a:latin typeface="Times New Roman" pitchFamily="18" charset="0"/>
              <a:cs typeface="Times New Roman" pitchFamily="18" charset="0"/>
            </a:endParaRPr>
          </a:p>
        </p:txBody>
      </p:sp>
      <p:sp>
        <p:nvSpPr>
          <p:cNvPr id="7" name="Notched Right Arrow 6"/>
          <p:cNvSpPr/>
          <p:nvPr/>
        </p:nvSpPr>
        <p:spPr>
          <a:xfrm>
            <a:off x="-4619" y="2193778"/>
            <a:ext cx="4779819" cy="1373425"/>
          </a:xfrm>
          <a:prstGeom prst="notchedRightArrow">
            <a:avLst>
              <a:gd name="adj1" fmla="val 72297"/>
              <a:gd name="adj2" fmla="val 52027"/>
            </a:avLst>
          </a:prstGeom>
          <a:solidFill>
            <a:schemeClr val="accent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2133" dirty="0">
                <a:solidFill>
                  <a:schemeClr val="tx1"/>
                </a:solidFill>
                <a:latin typeface="Times New Roman" pitchFamily="18" charset="0"/>
                <a:cs typeface="Times New Roman" pitchFamily="18" charset="0"/>
              </a:rPr>
              <a:t>Nghị quyết số 07/NQ-CP ngày 30/01/2023 của Chính phủ</a:t>
            </a:r>
            <a:endParaRPr lang="en-US" sz="2133" dirty="0">
              <a:solidFill>
                <a:schemeClr val="tx1"/>
              </a:solidFill>
              <a:latin typeface="Times New Roman" pitchFamily="18" charset="0"/>
              <a:cs typeface="Times New Roman" pitchFamily="18" charset="0"/>
            </a:endParaRPr>
          </a:p>
        </p:txBody>
      </p:sp>
      <p:sp>
        <p:nvSpPr>
          <p:cNvPr id="8" name="Notched Right Arrow 7"/>
          <p:cNvSpPr/>
          <p:nvPr/>
        </p:nvSpPr>
        <p:spPr>
          <a:xfrm>
            <a:off x="-4619" y="3615725"/>
            <a:ext cx="4779819" cy="1373425"/>
          </a:xfrm>
          <a:prstGeom prst="notchedRightArrow">
            <a:avLst>
              <a:gd name="adj1" fmla="val 72297"/>
              <a:gd name="adj2" fmla="val 52027"/>
            </a:avLst>
          </a:prstGeom>
          <a:solidFill>
            <a:schemeClr val="accent6">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2133" dirty="0">
                <a:solidFill>
                  <a:schemeClr val="tx1"/>
                </a:solidFill>
                <a:latin typeface="Times New Roman" pitchFamily="18" charset="0"/>
                <a:cs typeface="Times New Roman" pitchFamily="18" charset="0"/>
              </a:rPr>
              <a:t>Nghị định số 12/2023/NĐ-CP ngày 14/4/2023 của Chính phủ </a:t>
            </a:r>
            <a:endParaRPr lang="en-US" sz="2133" dirty="0">
              <a:solidFill>
                <a:schemeClr val="tx1"/>
              </a:solidFill>
              <a:latin typeface="Times New Roman" pitchFamily="18" charset="0"/>
              <a:cs typeface="Times New Roman" pitchFamily="18" charset="0"/>
            </a:endParaRPr>
          </a:p>
        </p:txBody>
      </p:sp>
      <p:sp>
        <p:nvSpPr>
          <p:cNvPr id="9" name="Notched Right Arrow 8"/>
          <p:cNvSpPr/>
          <p:nvPr/>
        </p:nvSpPr>
        <p:spPr>
          <a:xfrm>
            <a:off x="0" y="4851400"/>
            <a:ext cx="4775200" cy="2006600"/>
          </a:xfrm>
          <a:prstGeom prst="notchedRightArrow">
            <a:avLst>
              <a:gd name="adj1" fmla="val 72297"/>
              <a:gd name="adj2" fmla="val 35746"/>
            </a:avLst>
          </a:prstGeom>
          <a:solidFill>
            <a:schemeClr val="accent6">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dirty="0">
                <a:solidFill>
                  <a:schemeClr val="tx1"/>
                </a:solidFill>
                <a:latin typeface="Times New Roman" pitchFamily="18" charset="0"/>
                <a:cs typeface="Times New Roman" pitchFamily="18" charset="0"/>
              </a:rPr>
              <a:t>D</a:t>
            </a:r>
            <a:r>
              <a:rPr lang="vi-VN" sz="1867" dirty="0">
                <a:solidFill>
                  <a:schemeClr val="tx1"/>
                </a:solidFill>
                <a:latin typeface="Times New Roman" pitchFamily="18" charset="0"/>
                <a:cs typeface="Times New Roman" pitchFamily="18" charset="0"/>
              </a:rPr>
              <a:t>ự thảo ban hành Nghị quyết giảm thuế </a:t>
            </a:r>
            <a:r>
              <a:rPr lang="en-US" sz="1867" dirty="0" err="1">
                <a:solidFill>
                  <a:schemeClr val="tx1"/>
                </a:solidFill>
                <a:latin typeface="Times New Roman" pitchFamily="18" charset="0"/>
                <a:cs typeface="Times New Roman" pitchFamily="18" charset="0"/>
              </a:rPr>
              <a:t>GTGT</a:t>
            </a:r>
            <a:r>
              <a:rPr lang="en-US" sz="1867" dirty="0">
                <a:solidFill>
                  <a:schemeClr val="tx1"/>
                </a:solidFill>
                <a:latin typeface="Times New Roman" pitchFamily="18" charset="0"/>
                <a:cs typeface="Times New Roman" pitchFamily="18" charset="0"/>
              </a:rPr>
              <a:t> </a:t>
            </a:r>
            <a:r>
              <a:rPr lang="vi-VN" sz="1867" dirty="0">
                <a:solidFill>
                  <a:schemeClr val="tx1"/>
                </a:solidFill>
                <a:latin typeface="Times New Roman" pitchFamily="18" charset="0"/>
                <a:cs typeface="Times New Roman" pitchFamily="18" charset="0"/>
              </a:rPr>
              <a:t>2% đối với các nhóm hàng hóa, dịch vụ đang áp dụng mức thuế suất 10%</a:t>
            </a:r>
            <a:r>
              <a:rPr lang="en-US" sz="1867" dirty="0">
                <a:solidFill>
                  <a:schemeClr val="tx1"/>
                </a:solidFill>
                <a:latin typeface="Times New Roman" pitchFamily="18" charset="0"/>
                <a:cs typeface="Times New Roman" pitchFamily="18" charset="0"/>
              </a:rPr>
              <a:t> </a:t>
            </a:r>
            <a:r>
              <a:rPr lang="en-US" sz="1867" dirty="0" err="1">
                <a:solidFill>
                  <a:schemeClr val="tx1"/>
                </a:solidFill>
                <a:latin typeface="Times New Roman" pitchFamily="18" charset="0"/>
                <a:cs typeface="Times New Roman" pitchFamily="18" charset="0"/>
              </a:rPr>
              <a:t>của</a:t>
            </a:r>
            <a:r>
              <a:rPr lang="en-US" sz="1867" dirty="0">
                <a:solidFill>
                  <a:schemeClr val="tx1"/>
                </a:solidFill>
                <a:latin typeface="Times New Roman" pitchFamily="18" charset="0"/>
                <a:cs typeface="Times New Roman" pitchFamily="18" charset="0"/>
              </a:rPr>
              <a:t> </a:t>
            </a:r>
            <a:r>
              <a:rPr lang="en-US" sz="1867" dirty="0" err="1">
                <a:solidFill>
                  <a:schemeClr val="tx1"/>
                </a:solidFill>
                <a:latin typeface="Times New Roman" pitchFamily="18" charset="0"/>
                <a:cs typeface="Times New Roman" pitchFamily="18" charset="0"/>
              </a:rPr>
              <a:t>Quốc</a:t>
            </a:r>
            <a:r>
              <a:rPr lang="en-US" sz="1867" dirty="0">
                <a:solidFill>
                  <a:schemeClr val="tx1"/>
                </a:solidFill>
                <a:latin typeface="Times New Roman" pitchFamily="18" charset="0"/>
                <a:cs typeface="Times New Roman" pitchFamily="18" charset="0"/>
              </a:rPr>
              <a:t> </a:t>
            </a:r>
            <a:r>
              <a:rPr lang="en-US" sz="1867" dirty="0" err="1">
                <a:solidFill>
                  <a:schemeClr val="tx1"/>
                </a:solidFill>
                <a:latin typeface="Times New Roman" pitchFamily="18" charset="0"/>
                <a:cs typeface="Times New Roman" pitchFamily="18" charset="0"/>
              </a:rPr>
              <a:t>hội</a:t>
            </a:r>
            <a:endParaRPr lang="en-US" sz="1867"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2216679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203200" y="1295402"/>
          <a:ext cx="11785601" cy="4420936"/>
        </p:xfrm>
        <a:graphic>
          <a:graphicData uri="http://schemas.openxmlformats.org/drawingml/2006/table">
            <a:tbl>
              <a:tblPr firstRow="1" firstCol="1" bandRow="1"/>
              <a:tblGrid>
                <a:gridCol w="4978400">
                  <a:extLst>
                    <a:ext uri="{9D8B030D-6E8A-4147-A177-3AD203B41FA5}">
                      <a16:colId xmlns:a16="http://schemas.microsoft.com/office/drawing/2014/main" xmlns="" val="20000"/>
                    </a:ext>
                  </a:extLst>
                </a:gridCol>
                <a:gridCol w="1930400">
                  <a:extLst>
                    <a:ext uri="{9D8B030D-6E8A-4147-A177-3AD203B41FA5}">
                      <a16:colId xmlns:a16="http://schemas.microsoft.com/office/drawing/2014/main" xmlns="" val="20001"/>
                    </a:ext>
                  </a:extLst>
                </a:gridCol>
                <a:gridCol w="1727759">
                  <a:extLst>
                    <a:ext uri="{9D8B030D-6E8A-4147-A177-3AD203B41FA5}">
                      <a16:colId xmlns:a16="http://schemas.microsoft.com/office/drawing/2014/main" xmlns="" val="20002"/>
                    </a:ext>
                  </a:extLst>
                </a:gridCol>
                <a:gridCol w="1749191">
                  <a:extLst>
                    <a:ext uri="{9D8B030D-6E8A-4147-A177-3AD203B41FA5}">
                      <a16:colId xmlns:a16="http://schemas.microsoft.com/office/drawing/2014/main" xmlns="" val="20003"/>
                    </a:ext>
                  </a:extLst>
                </a:gridCol>
                <a:gridCol w="1399851">
                  <a:extLst>
                    <a:ext uri="{9D8B030D-6E8A-4147-A177-3AD203B41FA5}">
                      <a16:colId xmlns:a16="http://schemas.microsoft.com/office/drawing/2014/main" xmlns="" val="20004"/>
                    </a:ext>
                  </a:extLst>
                </a:gridCol>
              </a:tblGrid>
              <a:tr h="975360">
                <a:tc rowSpan="2">
                  <a:txBody>
                    <a:bodyPr/>
                    <a:lstStyle/>
                    <a:p>
                      <a:pPr algn="ctr">
                        <a:spcAft>
                          <a:spcPts val="0"/>
                        </a:spcAft>
                      </a:pPr>
                      <a:r>
                        <a:rPr lang="en-US" sz="2100" b="1">
                          <a:solidFill>
                            <a:srgbClr val="000000"/>
                          </a:solidFill>
                          <a:effectLst/>
                          <a:latin typeface="Times New Roman"/>
                          <a:ea typeface="Times New Roman"/>
                        </a:rPr>
                        <a:t> Nội dung</a:t>
                      </a:r>
                      <a:endParaRPr lang="en-US" sz="2100" b="1"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spcAft>
                          <a:spcPts val="0"/>
                        </a:spcAft>
                      </a:pPr>
                      <a:r>
                        <a:rPr lang="en-US" sz="2100" b="1" dirty="0" err="1">
                          <a:solidFill>
                            <a:srgbClr val="000000"/>
                          </a:solidFill>
                          <a:effectLst/>
                          <a:latin typeface="Times New Roman"/>
                          <a:ea typeface="Times New Roman"/>
                        </a:rPr>
                        <a:t>Phần</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dự</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kiến</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tăng</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thu</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bù</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đắp</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các</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khoản</a:t>
                      </a:r>
                      <a:r>
                        <a:rPr lang="en-US" sz="2100" b="1" dirty="0">
                          <a:solidFill>
                            <a:srgbClr val="000000"/>
                          </a:solidFill>
                          <a:effectLst/>
                          <a:latin typeface="Times New Roman"/>
                          <a:ea typeface="Times New Roman"/>
                        </a:rPr>
                        <a:t> </a:t>
                      </a:r>
                      <a:r>
                        <a:rPr lang="en-US" sz="2100" b="1" dirty="0" err="1">
                          <a:solidFill>
                            <a:srgbClr val="000000"/>
                          </a:solidFill>
                          <a:effectLst/>
                          <a:latin typeface="Times New Roman"/>
                          <a:ea typeface="Times New Roman"/>
                        </a:rPr>
                        <a:t>hụt</a:t>
                      </a:r>
                      <a:r>
                        <a:rPr lang="en-US" sz="2100" b="1" dirty="0">
                          <a:solidFill>
                            <a:srgbClr val="000000"/>
                          </a:solidFill>
                          <a:effectLst/>
                          <a:latin typeface="Times New Roman"/>
                          <a:ea typeface="Times New Roman"/>
                        </a:rPr>
                        <a:t> </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spcAft>
                          <a:spcPts val="0"/>
                        </a:spcAft>
                      </a:pPr>
                      <a:r>
                        <a:rPr lang="en-US" sz="2100" b="1">
                          <a:solidFill>
                            <a:srgbClr val="000000"/>
                          </a:solidFill>
                          <a:effectLst/>
                          <a:latin typeface="Times New Roman"/>
                          <a:ea typeface="Times New Roman"/>
                        </a:rPr>
                        <a:t>Phần dự kiến tăng thu bù đắp các khoản hụt tác động đến dự toán ngân sách địa phương</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704460">
                <a:tc vMerge="1">
                  <a:txBody>
                    <a:bodyPr/>
                    <a:lstStyle/>
                    <a:p>
                      <a:endParaRPr lang="en-US"/>
                    </a:p>
                  </a:txBody>
                  <a:tcPr/>
                </a:tc>
                <a:tc vMerge="1">
                  <a:txBody>
                    <a:bodyPr/>
                    <a:lstStyle/>
                    <a:p>
                      <a:endParaRPr lang="en-US"/>
                    </a:p>
                  </a:txBody>
                  <a:tcPr/>
                </a:tc>
                <a:tc>
                  <a:txBody>
                    <a:bodyPr/>
                    <a:lstStyle/>
                    <a:p>
                      <a:pPr algn="ctr">
                        <a:spcAft>
                          <a:spcPts val="0"/>
                        </a:spcAft>
                      </a:pPr>
                      <a:r>
                        <a:rPr lang="en-US" sz="2100" b="1">
                          <a:solidFill>
                            <a:srgbClr val="000000"/>
                          </a:solidFill>
                          <a:effectLst/>
                          <a:latin typeface="Times New Roman"/>
                          <a:ea typeface="Times New Roman"/>
                        </a:rPr>
                        <a:t>Tổng số</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a:solidFill>
                            <a:srgbClr val="000000"/>
                          </a:solidFill>
                          <a:effectLst/>
                          <a:latin typeface="Times New Roman"/>
                          <a:ea typeface="Times New Roman"/>
                        </a:rPr>
                        <a:t>Tỉnh</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a:solidFill>
                            <a:srgbClr val="000000"/>
                          </a:solidFill>
                          <a:effectLst/>
                          <a:latin typeface="Times New Roman"/>
                          <a:ea typeface="Times New Roman"/>
                        </a:rPr>
                        <a:t>Huyện</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695653">
                <a:tc>
                  <a:txBody>
                    <a:bodyPr/>
                    <a:lstStyle/>
                    <a:p>
                      <a:pPr>
                        <a:spcAft>
                          <a:spcPts val="0"/>
                        </a:spcAft>
                      </a:pPr>
                      <a:r>
                        <a:rPr lang="en-US" sz="2100" b="1">
                          <a:solidFill>
                            <a:srgbClr val="C00000"/>
                          </a:solidFill>
                          <a:effectLst/>
                          <a:latin typeface="Times New Roman"/>
                          <a:ea typeface="Times New Roman"/>
                        </a:rPr>
                        <a:t>II. Tổng cộng các khoản tăng thu so với Nghị quyết HĐND tỉnh giao đầu năm </a:t>
                      </a:r>
                      <a:endParaRPr lang="en-US" sz="210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914.000</a:t>
                      </a:r>
                      <a:endParaRPr lang="en-US" sz="2100"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914.000</a:t>
                      </a:r>
                      <a:endParaRPr lang="en-US" sz="2100"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642.000</a:t>
                      </a:r>
                      <a:endParaRPr lang="en-US" sz="2100"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272.000</a:t>
                      </a:r>
                      <a:endParaRPr lang="en-US" sz="2100"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71984">
                <a:tc>
                  <a:txBody>
                    <a:bodyPr/>
                    <a:lstStyle/>
                    <a:p>
                      <a:pPr>
                        <a:spcAft>
                          <a:spcPts val="0"/>
                        </a:spcAft>
                      </a:pPr>
                      <a:r>
                        <a:rPr lang="en-US" sz="2100" dirty="0">
                          <a:solidFill>
                            <a:srgbClr val="000000"/>
                          </a:solidFill>
                          <a:effectLst/>
                          <a:latin typeface="Times New Roman"/>
                          <a:ea typeface="Times New Roman"/>
                        </a:rPr>
                        <a:t>Thu </a:t>
                      </a:r>
                      <a:r>
                        <a:rPr lang="en-US" sz="2100" dirty="0" err="1">
                          <a:solidFill>
                            <a:srgbClr val="000000"/>
                          </a:solidFill>
                          <a:effectLst/>
                          <a:latin typeface="Times New Roman"/>
                          <a:ea typeface="Times New Roman"/>
                        </a:rPr>
                        <a:t>từ</a:t>
                      </a:r>
                      <a:r>
                        <a:rPr lang="en-US" sz="2100" dirty="0">
                          <a:solidFill>
                            <a:srgbClr val="000000"/>
                          </a:solidFill>
                          <a:effectLst/>
                          <a:latin typeface="Times New Roman"/>
                          <a:ea typeface="Times New Roman"/>
                        </a:rPr>
                        <a:t> </a:t>
                      </a:r>
                      <a:r>
                        <a:rPr lang="en-US" sz="2100" dirty="0" err="1">
                          <a:solidFill>
                            <a:srgbClr val="000000"/>
                          </a:solidFill>
                          <a:effectLst/>
                          <a:latin typeface="Times New Roman"/>
                          <a:ea typeface="Times New Roman"/>
                        </a:rPr>
                        <a:t>các</a:t>
                      </a:r>
                      <a:r>
                        <a:rPr lang="en-US" sz="2100" dirty="0">
                          <a:solidFill>
                            <a:srgbClr val="000000"/>
                          </a:solidFill>
                          <a:effectLst/>
                          <a:latin typeface="Times New Roman"/>
                          <a:ea typeface="Times New Roman"/>
                        </a:rPr>
                        <a:t> </a:t>
                      </a:r>
                      <a:r>
                        <a:rPr lang="en-US" sz="2100" dirty="0" err="1">
                          <a:solidFill>
                            <a:srgbClr val="000000"/>
                          </a:solidFill>
                          <a:effectLst/>
                          <a:latin typeface="Times New Roman"/>
                          <a:ea typeface="Times New Roman"/>
                        </a:rPr>
                        <a:t>chính</a:t>
                      </a:r>
                      <a:r>
                        <a:rPr lang="en-US" sz="2100" dirty="0">
                          <a:solidFill>
                            <a:srgbClr val="000000"/>
                          </a:solidFill>
                          <a:effectLst/>
                          <a:latin typeface="Times New Roman"/>
                          <a:ea typeface="Times New Roman"/>
                        </a:rPr>
                        <a:t> </a:t>
                      </a:r>
                      <a:r>
                        <a:rPr lang="en-US" sz="2100" dirty="0" err="1">
                          <a:solidFill>
                            <a:srgbClr val="000000"/>
                          </a:solidFill>
                          <a:effectLst/>
                          <a:latin typeface="Times New Roman"/>
                          <a:ea typeface="Times New Roman"/>
                        </a:rPr>
                        <a:t>sách</a:t>
                      </a:r>
                      <a:r>
                        <a:rPr lang="en-US" sz="2100" dirty="0">
                          <a:solidFill>
                            <a:srgbClr val="000000"/>
                          </a:solidFill>
                          <a:effectLst/>
                          <a:latin typeface="Times New Roman"/>
                          <a:ea typeface="Times New Roman"/>
                        </a:rPr>
                        <a:t> </a:t>
                      </a:r>
                      <a:r>
                        <a:rPr lang="en-US" sz="2100" dirty="0" err="1">
                          <a:solidFill>
                            <a:srgbClr val="000000"/>
                          </a:solidFill>
                          <a:effectLst/>
                          <a:latin typeface="Times New Roman"/>
                          <a:ea typeface="Times New Roman"/>
                        </a:rPr>
                        <a:t>thuế</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a:effectLst/>
                          <a:latin typeface="Times New Roman"/>
                          <a:ea typeface="Calibri"/>
                        </a:rPr>
                        <a:t>544.000</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dirty="0">
                          <a:effectLst/>
                          <a:latin typeface="Times New Roman"/>
                          <a:ea typeface="Calibri"/>
                        </a:rPr>
                        <a:t>544.000</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dirty="0">
                          <a:effectLst/>
                          <a:latin typeface="Times New Roman"/>
                          <a:ea typeface="Calibri"/>
                        </a:rPr>
                        <a:t>272.000</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dirty="0">
                          <a:effectLst/>
                          <a:latin typeface="Times New Roman"/>
                          <a:ea typeface="Calibri"/>
                        </a:rPr>
                        <a:t>272.000</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343916">
                <a:tc>
                  <a:txBody>
                    <a:bodyPr/>
                    <a:lstStyle/>
                    <a:p>
                      <a:pPr>
                        <a:spcAft>
                          <a:spcPts val="0"/>
                        </a:spcAft>
                      </a:pPr>
                      <a:r>
                        <a:rPr lang="en-US" sz="2100">
                          <a:solidFill>
                            <a:srgbClr val="000000"/>
                          </a:solidFill>
                          <a:effectLst/>
                          <a:latin typeface="Times New Roman"/>
                          <a:ea typeface="Times New Roman"/>
                        </a:rPr>
                        <a:t>Thuê đất 1 lần</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a:effectLst/>
                          <a:latin typeface="Times New Roman"/>
                          <a:ea typeface="Calibri"/>
                        </a:rPr>
                        <a:t>370.000</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a:effectLst/>
                          <a:latin typeface="Times New Roman"/>
                          <a:ea typeface="Calibri"/>
                        </a:rPr>
                        <a:t>370.000</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dirty="0">
                          <a:effectLst/>
                          <a:latin typeface="Times New Roman"/>
                          <a:ea typeface="Calibri"/>
                        </a:rPr>
                        <a:t>370.000</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endParaRPr lang="en-US" sz="2100" dirty="0">
                        <a:effectLst/>
                        <a:latin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25120">
                <a:tc>
                  <a:txBody>
                    <a:bodyPr/>
                    <a:lstStyle/>
                    <a:p>
                      <a:endParaRPr lang="en-US" sz="2100">
                        <a:effectLst/>
                        <a:latin typeface="Times New Roman"/>
                      </a:endParaRPr>
                    </a:p>
                  </a:txBody>
                  <a:tcPr marL="61011" marR="6101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2100">
                        <a:effectLst/>
                        <a:latin typeface="Times New Roman"/>
                      </a:endParaRPr>
                    </a:p>
                  </a:txBody>
                  <a:tcPr marL="61011" marR="6101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2100">
                        <a:effectLst/>
                        <a:latin typeface="Times New Roman"/>
                      </a:endParaRPr>
                    </a:p>
                  </a:txBody>
                  <a:tcPr marL="61011" marR="6101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2100" dirty="0">
                        <a:effectLst/>
                        <a:latin typeface="Times New Roman"/>
                      </a:endParaRPr>
                    </a:p>
                  </a:txBody>
                  <a:tcPr marL="61011" marR="6101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2100">
                        <a:effectLst/>
                        <a:latin typeface="Times New Roman"/>
                      </a:endParaRPr>
                    </a:p>
                  </a:txBody>
                  <a:tcPr marL="61011" marR="61011"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330073">
                <a:tc>
                  <a:txBody>
                    <a:bodyPr/>
                    <a:lstStyle/>
                    <a:p>
                      <a:pPr algn="ctr">
                        <a:spcAft>
                          <a:spcPts val="0"/>
                        </a:spcAft>
                      </a:pPr>
                      <a:r>
                        <a:rPr lang="en-US" sz="2100" b="1">
                          <a:solidFill>
                            <a:srgbClr val="000000"/>
                          </a:solidFill>
                          <a:effectLst/>
                          <a:latin typeface="Times New Roman"/>
                          <a:ea typeface="Times New Roman"/>
                        </a:rPr>
                        <a:t> Nội dung</a:t>
                      </a:r>
                      <a:endParaRPr lang="en-US" sz="2100" b="1">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2100">
                        <a:effectLst/>
                        <a:latin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a:solidFill>
                            <a:srgbClr val="000000"/>
                          </a:solidFill>
                          <a:effectLst/>
                          <a:latin typeface="Times New Roman"/>
                          <a:ea typeface="Times New Roman"/>
                        </a:rPr>
                        <a:t>Tổng số</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dirty="0" err="1">
                          <a:solidFill>
                            <a:srgbClr val="000000"/>
                          </a:solidFill>
                          <a:effectLst/>
                          <a:latin typeface="Times New Roman"/>
                          <a:ea typeface="Times New Roman"/>
                        </a:rPr>
                        <a:t>Tỉnh</a:t>
                      </a:r>
                      <a:endParaRPr lang="en-US" sz="2100" dirty="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2100" b="1">
                          <a:solidFill>
                            <a:srgbClr val="000000"/>
                          </a:solidFill>
                          <a:effectLst/>
                          <a:latin typeface="Times New Roman"/>
                          <a:ea typeface="Times New Roman"/>
                        </a:rPr>
                        <a:t>Huyện</a:t>
                      </a:r>
                      <a:endParaRPr lang="en-US" sz="2100">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650240">
                <a:tc>
                  <a:txBody>
                    <a:bodyPr/>
                    <a:lstStyle/>
                    <a:p>
                      <a:pPr algn="ctr">
                        <a:spcAft>
                          <a:spcPts val="0"/>
                        </a:spcAft>
                      </a:pPr>
                      <a:r>
                        <a:rPr lang="en-US" sz="2100" b="1">
                          <a:solidFill>
                            <a:srgbClr val="C00000"/>
                          </a:solidFill>
                          <a:effectLst/>
                          <a:latin typeface="Times New Roman"/>
                          <a:ea typeface="Times New Roman"/>
                        </a:rPr>
                        <a:t>III. Chênh </a:t>
                      </a:r>
                      <a:r>
                        <a:rPr lang="en-US" sz="2100" b="1" dirty="0" err="1">
                          <a:solidFill>
                            <a:srgbClr val="C00000"/>
                          </a:solidFill>
                          <a:effectLst/>
                          <a:latin typeface="Times New Roman"/>
                          <a:ea typeface="Times New Roman"/>
                        </a:rPr>
                        <a:t>lệch</a:t>
                      </a:r>
                      <a:r>
                        <a:rPr lang="en-US" sz="2100" b="1" dirty="0">
                          <a:solidFill>
                            <a:srgbClr val="C00000"/>
                          </a:solidFill>
                          <a:effectLst/>
                          <a:latin typeface="Times New Roman"/>
                          <a:ea typeface="Times New Roman"/>
                        </a:rPr>
                        <a:t> </a:t>
                      </a:r>
                      <a:r>
                        <a:rPr lang="en-US" sz="2100" b="1" dirty="0" err="1">
                          <a:solidFill>
                            <a:srgbClr val="C00000"/>
                          </a:solidFill>
                          <a:effectLst/>
                          <a:latin typeface="Times New Roman"/>
                          <a:ea typeface="Times New Roman"/>
                        </a:rPr>
                        <a:t>tăng</a:t>
                      </a:r>
                      <a:r>
                        <a:rPr lang="en-US" sz="2100" b="1" dirty="0">
                          <a:solidFill>
                            <a:srgbClr val="C00000"/>
                          </a:solidFill>
                          <a:effectLst/>
                          <a:latin typeface="Times New Roman"/>
                          <a:ea typeface="Times New Roman"/>
                        </a:rPr>
                        <a:t> </a:t>
                      </a:r>
                      <a:r>
                        <a:rPr lang="en-US" sz="2100" b="1" dirty="0" err="1">
                          <a:solidFill>
                            <a:srgbClr val="C00000"/>
                          </a:solidFill>
                          <a:effectLst/>
                          <a:latin typeface="Times New Roman"/>
                          <a:ea typeface="Times New Roman"/>
                        </a:rPr>
                        <a:t>thu</a:t>
                      </a:r>
                      <a:r>
                        <a:rPr lang="en-US" sz="2100" b="1" dirty="0">
                          <a:solidFill>
                            <a:srgbClr val="C00000"/>
                          </a:solidFill>
                          <a:effectLst/>
                          <a:latin typeface="Times New Roman"/>
                          <a:ea typeface="Times New Roman"/>
                        </a:rPr>
                        <a:t> </a:t>
                      </a:r>
                      <a:r>
                        <a:rPr lang="en-US" sz="2100" b="1" dirty="0" err="1">
                          <a:solidFill>
                            <a:srgbClr val="C00000"/>
                          </a:solidFill>
                          <a:effectLst/>
                          <a:latin typeface="Times New Roman"/>
                          <a:ea typeface="Times New Roman"/>
                        </a:rPr>
                        <a:t>trừ</a:t>
                      </a:r>
                      <a:r>
                        <a:rPr lang="en-US" sz="2100" b="1" dirty="0">
                          <a:solidFill>
                            <a:srgbClr val="C00000"/>
                          </a:solidFill>
                          <a:effectLst/>
                          <a:latin typeface="Times New Roman"/>
                          <a:ea typeface="Times New Roman"/>
                        </a:rPr>
                        <a:t> </a:t>
                      </a:r>
                      <a:r>
                        <a:rPr lang="en-US" sz="2100" b="1" dirty="0" err="1">
                          <a:solidFill>
                            <a:srgbClr val="C00000"/>
                          </a:solidFill>
                          <a:effectLst/>
                          <a:latin typeface="Times New Roman"/>
                          <a:ea typeface="Times New Roman"/>
                        </a:rPr>
                        <a:t>giảm</a:t>
                      </a:r>
                      <a:r>
                        <a:rPr lang="en-US" sz="2100" b="1" dirty="0">
                          <a:solidFill>
                            <a:srgbClr val="C00000"/>
                          </a:solidFill>
                          <a:effectLst/>
                          <a:latin typeface="Times New Roman"/>
                          <a:ea typeface="Times New Roman"/>
                        </a:rPr>
                        <a:t> </a:t>
                      </a:r>
                      <a:r>
                        <a:rPr lang="en-US" sz="2100" b="1" dirty="0" err="1">
                          <a:solidFill>
                            <a:srgbClr val="C00000"/>
                          </a:solidFill>
                          <a:effectLst/>
                          <a:latin typeface="Times New Roman"/>
                          <a:ea typeface="Times New Roman"/>
                        </a:rPr>
                        <a:t>thu</a:t>
                      </a:r>
                      <a:r>
                        <a:rPr lang="en-US" sz="2100" b="1" dirty="0">
                          <a:solidFill>
                            <a:srgbClr val="C00000"/>
                          </a:solidFill>
                          <a:effectLst/>
                          <a:latin typeface="Times New Roman"/>
                          <a:ea typeface="Times New Roman"/>
                        </a:rPr>
                        <a:t>  (II-I)</a:t>
                      </a: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US" sz="2100" b="1" dirty="0">
                        <a:solidFill>
                          <a:srgbClr val="C00000"/>
                        </a:solidFill>
                        <a:effectLst/>
                        <a:latin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142.210</a:t>
                      </a:r>
                      <a:endParaRPr lang="en-US" sz="2100" b="1"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132.573</a:t>
                      </a:r>
                      <a:endParaRPr lang="en-US" sz="2100" b="1"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n-US" sz="2100" b="1" dirty="0">
                          <a:solidFill>
                            <a:srgbClr val="C00000"/>
                          </a:solidFill>
                          <a:effectLst/>
                          <a:latin typeface="Times New Roman"/>
                          <a:ea typeface="Calibri"/>
                        </a:rPr>
                        <a:t>9.637</a:t>
                      </a:r>
                      <a:endParaRPr lang="en-US" sz="2100" b="1" dirty="0">
                        <a:solidFill>
                          <a:srgbClr val="C00000"/>
                        </a:solidFill>
                        <a:effectLst/>
                        <a:latin typeface="Times New Roman"/>
                        <a:ea typeface="Times New Roman"/>
                      </a:endParaRPr>
                    </a:p>
                  </a:txBody>
                  <a:tcPr marL="61011" marR="610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5" name="TextBox 4">
            <a:extLst>
              <a:ext uri="{FF2B5EF4-FFF2-40B4-BE49-F238E27FC236}">
                <a16:creationId xmlns:a16="http://schemas.microsoft.com/office/drawing/2014/main" xmlns="" id="{8105B003-DEFD-4DF8-9500-4D9396C3DACA}"/>
              </a:ext>
            </a:extLst>
          </p:cNvPr>
          <p:cNvSpPr txBox="1"/>
          <p:nvPr/>
        </p:nvSpPr>
        <p:spPr>
          <a:xfrm>
            <a:off x="-101600" y="177801"/>
            <a:ext cx="12090400" cy="830997"/>
          </a:xfrm>
          <a:prstGeom prst="rect">
            <a:avLst/>
          </a:prstGeom>
          <a:noFill/>
        </p:spPr>
        <p:txBody>
          <a:bodyPr wrap="square" rtlCol="0">
            <a:spAutoFit/>
          </a:bodyPr>
          <a:lstStyle/>
          <a:p>
            <a:pPr marL="342900" indent="-342900" algn="r">
              <a:buFont typeface="Wingdings" panose="05000000000000000000" pitchFamily="2" charset="2"/>
              <a:buChar char="Ø"/>
            </a:pPr>
            <a:r>
              <a:rPr lang="en-US" sz="2400" b="1">
                <a:solidFill>
                  <a:schemeClr val="tx1">
                    <a:lumMod val="85000"/>
                    <a:lumOff val="15000"/>
                  </a:schemeClr>
                </a:solidFill>
                <a:latin typeface="Times New Roman" pitchFamily="18" charset="0"/>
                <a:cs typeface="Times New Roman" pitchFamily="18" charset="0"/>
              </a:rPr>
              <a:t>D</a:t>
            </a:r>
            <a:r>
              <a:rPr lang="vi-VN" sz="2400" b="1">
                <a:solidFill>
                  <a:schemeClr val="tx1">
                    <a:lumMod val="85000"/>
                    <a:lumOff val="15000"/>
                  </a:schemeClr>
                </a:solidFill>
                <a:latin typeface="Times New Roman" pitchFamily="18" charset="0"/>
                <a:cs typeface="Times New Roman" pitchFamily="18" charset="0"/>
              </a:rPr>
              <a:t>ự </a:t>
            </a:r>
            <a:r>
              <a:rPr lang="vi-VN" sz="2400" b="1" dirty="0">
                <a:solidFill>
                  <a:schemeClr val="tx1">
                    <a:lumMod val="85000"/>
                    <a:lumOff val="15000"/>
                  </a:schemeClr>
                </a:solidFill>
                <a:latin typeface="Times New Roman" pitchFamily="18" charset="0"/>
                <a:cs typeface="Times New Roman" pitchFamily="18" charset="0"/>
              </a:rPr>
              <a:t>kiến các khoản tăng thu khác để bù đắp các khoản giảm thu nhằm đảm bảo thực hiện dự toán ngân sách địa phương năm 2023</a:t>
            </a:r>
            <a:endParaRPr lang="en-US" sz="2400" b="1" dirty="0">
              <a:solidFill>
                <a:schemeClr val="tx1">
                  <a:lumMod val="85000"/>
                  <a:lumOff val="15000"/>
                </a:schemeClr>
              </a:solidFill>
              <a:latin typeface="Times New Roman" pitchFamily="18" charset="0"/>
              <a:cs typeface="Times New Roman" pitchFamily="18" charset="0"/>
            </a:endParaRPr>
          </a:p>
        </p:txBody>
      </p:sp>
      <p:sp>
        <p:nvSpPr>
          <p:cNvPr id="3" name="Flowchart: Document 2"/>
          <p:cNvSpPr/>
          <p:nvPr/>
        </p:nvSpPr>
        <p:spPr>
          <a:xfrm>
            <a:off x="406400" y="5683420"/>
            <a:ext cx="11480800" cy="1092200"/>
          </a:xfrm>
          <a:prstGeom prst="flowChartDocumen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vi-VN" sz="2400" dirty="0">
                <a:solidFill>
                  <a:schemeClr val="tx1"/>
                </a:solidFill>
                <a:latin typeface="Times New Roman" pitchFamily="18" charset="0"/>
                <a:cs typeface="Times New Roman" pitchFamily="18" charset="0"/>
              </a:rPr>
              <a:t>Trong dự kiến tăng thu để bù đắp các khoản thiếu hụt, thu nợ tiền thuê đất trả tiền 01 lần cho cả thời hạn thuê là </a:t>
            </a:r>
            <a:r>
              <a:rPr lang="vi-VN" sz="2400" b="1" dirty="0">
                <a:solidFill>
                  <a:schemeClr val="tx1"/>
                </a:solidFill>
                <a:latin typeface="Times New Roman" pitchFamily="18" charset="0"/>
                <a:cs typeface="Times New Roman" pitchFamily="18" charset="0"/>
              </a:rPr>
              <a:t>300 tỷ đồng </a:t>
            </a:r>
            <a:r>
              <a:rPr lang="vi-VN" sz="2400" dirty="0">
                <a:solidFill>
                  <a:schemeClr val="tx1"/>
                </a:solidFill>
                <a:latin typeface="Times New Roman" pitchFamily="18" charset="0"/>
                <a:cs typeface="Times New Roman" pitchFamily="18" charset="0"/>
              </a:rPr>
              <a:t>của Công ty Cổ phần Thị nại EcoBay</a:t>
            </a:r>
            <a:endParaRPr lang="en-US" sz="2400" dirty="0">
              <a:solidFill>
                <a:schemeClr val="tx1"/>
              </a:solidFill>
              <a:latin typeface="Times New Roman" pitchFamily="18" charset="0"/>
              <a:cs typeface="Times New Roman" pitchFamily="18" charset="0"/>
            </a:endParaRPr>
          </a:p>
        </p:txBody>
      </p:sp>
    </p:spTree>
    <p:extLst>
      <p:ext uri="{BB962C8B-B14F-4D97-AF65-F5344CB8AC3E}">
        <p14:creationId xmlns:p14="http://schemas.microsoft.com/office/powerpoint/2010/main" val="14851662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777362" y="524236"/>
            <a:ext cx="8341471"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127714" y="830952"/>
            <a:ext cx="318709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4.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ư</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phá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iể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2824701483"/>
              </p:ext>
            </p:extLst>
          </p:nvPr>
        </p:nvGraphicFramePr>
        <p:xfrm>
          <a:off x="507674" y="1670324"/>
          <a:ext cx="7092752" cy="3474720"/>
        </p:xfrm>
        <a:graphic>
          <a:graphicData uri="http://schemas.openxmlformats.org/drawingml/2006/table">
            <a:tbl>
              <a:tblPr firstRow="1" bandRow="1"/>
              <a:tblGrid>
                <a:gridCol w="7092752">
                  <a:extLst>
                    <a:ext uri="{9D8B030D-6E8A-4147-A177-3AD203B41FA5}">
                      <a16:colId xmlns:a16="http://schemas.microsoft.com/office/drawing/2014/main" xmlns=""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Đã phân bổ chi tiết kế hoạch vốn đầu tư phát triển thực hiện trong năm 2023.</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spc="-10" baseline="0" dirty="0">
                          <a:solidFill>
                            <a:schemeClr val="dk1"/>
                          </a:solidFill>
                          <a:effectLst/>
                          <a:latin typeface="Times New Roman" panose="02020603050405020304" pitchFamily="18" charset="0"/>
                          <a:ea typeface="+mn-ea"/>
                          <a:cs typeface="Times New Roman" panose="02020603050405020304" pitchFamily="18" charset="0"/>
                        </a:rPr>
                        <a:t> </a:t>
                      </a:r>
                      <a:r>
                        <a:rPr lang="it-IT"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UBND</a:t>
                      </a:r>
                      <a:r>
                        <a:rPr lang="it-IT" sz="2400" spc="-10" baseline="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tỉnh đã ban hành Chỉ thị số 04/CT-UBND và nhiều văn để đôn đốc việc thực hiện, giải ngân vốn đầu tư công năm 2023</a:t>
                      </a:r>
                      <a:endParaRPr lang="it-IT" sz="2400" b="0" kern="1200" spc="-10" baseline="0" dirty="0">
                        <a:solidFill>
                          <a:prstClr val="black"/>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spc="-10" baseline="0" dirty="0">
                          <a:solidFill>
                            <a:prstClr val="black"/>
                          </a:solidFill>
                          <a:effectLst/>
                          <a:latin typeface="Times New Roman" panose="02020603050405020304" pitchFamily="18" charset="0"/>
                          <a:ea typeface="+mn-ea"/>
                          <a:cs typeface="Times New Roman" panose="02020603050405020304" pitchFamily="18" charset="0"/>
                        </a:rPr>
                        <a:t> </a:t>
                      </a:r>
                      <a:r>
                        <a:rPr lang="it-IT" sz="2400" kern="1200" spc="-10" dirty="0">
                          <a:solidFill>
                            <a:prstClr val="black"/>
                          </a:solidFill>
                          <a:latin typeface="Times New Roman" panose="02020603050405020304" pitchFamily="18" charset="0"/>
                          <a:ea typeface="+mn-ea"/>
                          <a:cs typeface="Times New Roman" panose="02020603050405020304" pitchFamily="18" charset="0"/>
                        </a:rPr>
                        <a:t>Tỷ giải ngân vốn đầu tư </a:t>
                      </a:r>
                      <a:r>
                        <a:rPr lang="it-IT" sz="2400" kern="1200" spc="-10">
                          <a:solidFill>
                            <a:prstClr val="black"/>
                          </a:solidFill>
                          <a:latin typeface="Times New Roman" panose="02020603050405020304" pitchFamily="18" charset="0"/>
                          <a:ea typeface="+mn-ea"/>
                          <a:cs typeface="Times New Roman" panose="02020603050405020304" pitchFamily="18" charset="0"/>
                        </a:rPr>
                        <a:t>công đến đạt </a:t>
                      </a:r>
                      <a:r>
                        <a:rPr lang="en-US" sz="2400" kern="1200" spc="-10">
                          <a:solidFill>
                            <a:prstClr val="black"/>
                          </a:solidFill>
                          <a:latin typeface="Times New Roman" panose="02020603050405020304" pitchFamily="18" charset="0"/>
                          <a:ea typeface="+mn-ea"/>
                          <a:cs typeface="Times New Roman" panose="02020603050405020304" pitchFamily="18" charset="0"/>
                        </a:rPr>
                        <a:t>22,67%</a:t>
                      </a:r>
                      <a:endParaRPr lang="vi-VN" sz="24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pic>
        <p:nvPicPr>
          <p:cNvPr id="2" name="Picture 1" descr="A group of people looking at a map&#10;&#10;Description automatically generated with medium confidence">
            <a:extLst>
              <a:ext uri="{FF2B5EF4-FFF2-40B4-BE49-F238E27FC236}">
                <a16:creationId xmlns:a16="http://schemas.microsoft.com/office/drawing/2014/main" xmlns="" id="{8AD87206-4C50-4DB5-8F5A-727327E5FF6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8828" y="3959544"/>
            <a:ext cx="3925122" cy="2207881"/>
          </a:xfrm>
          <a:prstGeom prst="rect">
            <a:avLst/>
          </a:prstGeom>
        </p:spPr>
      </p:pic>
      <p:pic>
        <p:nvPicPr>
          <p:cNvPr id="3" name="Picture 2" descr="A road next to a body of water&#10;&#10;Description automatically generated with low confidence">
            <a:extLst>
              <a:ext uri="{FF2B5EF4-FFF2-40B4-BE49-F238E27FC236}">
                <a16:creationId xmlns:a16="http://schemas.microsoft.com/office/drawing/2014/main" xmlns="" id="{65E2C9CA-C74B-BF6D-7601-969BE1A28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11776" y="1221118"/>
            <a:ext cx="3962174" cy="2207882"/>
          </a:xfrm>
          <a:prstGeom prst="rect">
            <a:avLst/>
          </a:prstGeom>
        </p:spPr>
      </p:pic>
    </p:spTree>
    <p:extLst>
      <p:ext uri="{BB962C8B-B14F-4D97-AF65-F5344CB8AC3E}">
        <p14:creationId xmlns:p14="http://schemas.microsoft.com/office/powerpoint/2010/main" val="295747911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D76DD756-FB9C-20A4-B9B1-1FEF2C8898FF}"/>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7</a:t>
            </a:fld>
            <a:endParaRPr lang="en-US">
              <a:solidFill>
                <a:prstClr val="black">
                  <a:tint val="75000"/>
                </a:prstClr>
              </a:solidFill>
            </a:endParaRPr>
          </a:p>
        </p:txBody>
      </p:sp>
      <p:sp>
        <p:nvSpPr>
          <p:cNvPr id="6" name="Content Placeholder 5">
            <a:extLst>
              <a:ext uri="{FF2B5EF4-FFF2-40B4-BE49-F238E27FC236}">
                <a16:creationId xmlns:a16="http://schemas.microsoft.com/office/drawing/2014/main" xmlns="" id="{B7BD8B0A-7929-7187-685B-EA56B4D6C7B4}"/>
              </a:ext>
            </a:extLst>
          </p:cNvPr>
          <p:cNvSpPr>
            <a:spLocks noGrp="1"/>
          </p:cNvSpPr>
          <p:nvPr>
            <p:ph idx="1"/>
          </p:nvPr>
        </p:nvSpPr>
        <p:spPr/>
        <p:txBody>
          <a:bodyPr/>
          <a:lstStyle/>
          <a:p>
            <a:endParaRPr lang="vi-VN"/>
          </a:p>
        </p:txBody>
      </p:sp>
      <p:graphicFrame>
        <p:nvGraphicFramePr>
          <p:cNvPr id="7" name="Chart 6">
            <a:extLst>
              <a:ext uri="{FF2B5EF4-FFF2-40B4-BE49-F238E27FC236}">
                <a16:creationId xmlns:a16="http://schemas.microsoft.com/office/drawing/2014/main" xmlns="" id="{21072E10-E213-8230-E87D-66CC2B0F206C}"/>
              </a:ext>
            </a:extLst>
          </p:cNvPr>
          <p:cNvGraphicFramePr>
            <a:graphicFrameLocks/>
          </p:cNvGraphicFramePr>
          <p:nvPr>
            <p:extLst>
              <p:ext uri="{D42A27DB-BD31-4B8C-83A1-F6EECF244321}">
                <p14:modId xmlns:p14="http://schemas.microsoft.com/office/powerpoint/2010/main" val="304454390"/>
              </p:ext>
            </p:extLst>
          </p:nvPr>
        </p:nvGraphicFramePr>
        <p:xfrm>
          <a:off x="1124125" y="2249424"/>
          <a:ext cx="9702371" cy="3858767"/>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a:extLst>
              <a:ext uri="{FF2B5EF4-FFF2-40B4-BE49-F238E27FC236}">
                <a16:creationId xmlns:a16="http://schemas.microsoft.com/office/drawing/2014/main" xmlns="" id="{7DE2067D-6A16-7795-7668-43877C1D16E1}"/>
              </a:ext>
            </a:extLst>
          </p:cNvPr>
          <p:cNvSpPr>
            <a:spLocks noGrp="1"/>
          </p:cNvSpPr>
          <p:nvPr>
            <p:ph type="title"/>
          </p:nvPr>
        </p:nvSpPr>
        <p:spPr>
          <a:xfrm>
            <a:off x="1417749" y="569342"/>
            <a:ext cx="10515600" cy="1325563"/>
          </a:xfrm>
        </p:spPr>
        <p:txBody>
          <a:bodyPr>
            <a:normAutofit/>
          </a:bodyPr>
          <a:lstStyle/>
          <a:p>
            <a:r>
              <a:rPr lang="vi-VN" sz="3200" b="1" dirty="0">
                <a:solidFill>
                  <a:srgbClr val="6C0000"/>
                </a:solidFill>
                <a:cs typeface="Arial" panose="020B0604020202020204" pitchFamily="34" charset="0"/>
              </a:rPr>
              <a:t>T</a:t>
            </a:r>
            <a:r>
              <a:rPr lang="en-US" sz="3200" b="1" dirty="0">
                <a:solidFill>
                  <a:srgbClr val="6C0000"/>
                </a:solidFill>
                <a:cs typeface="Arial" panose="020B0604020202020204" pitchFamily="34" charset="0"/>
              </a:rPr>
              <a:t>ỷ </a:t>
            </a:r>
            <a:r>
              <a:rPr lang="en-US" sz="3200" b="1" dirty="0" err="1">
                <a:solidFill>
                  <a:srgbClr val="6C0000"/>
                </a:solidFill>
                <a:cs typeface="Arial" panose="020B0604020202020204" pitchFamily="34" charset="0"/>
              </a:rPr>
              <a:t>lệ</a:t>
            </a:r>
            <a:r>
              <a:rPr lang="vi-VN" sz="3200" b="1" dirty="0">
                <a:solidFill>
                  <a:srgbClr val="6C0000"/>
                </a:solidFill>
                <a:cs typeface="Arial" panose="020B0604020202020204" pitchFamily="34" charset="0"/>
              </a:rPr>
              <a:t> giải ngân chung theo nguồn vốn</a:t>
            </a:r>
            <a:endParaRPr lang="vi-VN" sz="3200" dirty="0"/>
          </a:p>
        </p:txBody>
      </p:sp>
      <p:sp>
        <p:nvSpPr>
          <p:cNvPr id="9" name="Rectangle 8">
            <a:extLst>
              <a:ext uri="{FF2B5EF4-FFF2-40B4-BE49-F238E27FC236}">
                <a16:creationId xmlns:a16="http://schemas.microsoft.com/office/drawing/2014/main" xmlns="" id="{0E39DB1C-0063-45AB-7205-BC041C40DB7F}"/>
              </a:ext>
            </a:extLst>
          </p:cNvPr>
          <p:cNvSpPr/>
          <p:nvPr/>
        </p:nvSpPr>
        <p:spPr>
          <a:xfrm>
            <a:off x="947410" y="307732"/>
            <a:ext cx="318709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4.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ư</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phá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iển</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406576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01DC26C3-E6F4-C27A-8624-3A65D81B6008}"/>
              </a:ext>
            </a:extLst>
          </p:cNvPr>
          <p:cNvSpPr/>
          <p:nvPr/>
        </p:nvSpPr>
        <p:spPr>
          <a:xfrm>
            <a:off x="277707" y="0"/>
            <a:ext cx="10191754" cy="869469"/>
          </a:xfrm>
          <a:prstGeom prst="rect">
            <a:avLst/>
          </a:prstGeom>
        </p:spPr>
        <p:txBody>
          <a:bodyPr wrap="squar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4. Đầu tư phát triển: Giải </a:t>
            </a:r>
            <a:r>
              <a:rPr lang="en-US" sz="2400" b="1" spc="-20" dirty="0" err="1">
                <a:solidFill>
                  <a:srgbClr val="100717"/>
                </a:solidFill>
                <a:latin typeface="Times New Roman" panose="02020603050405020304" pitchFamily="18" charset="0"/>
                <a:cs typeface="Times New Roman" panose="02020603050405020304" pitchFamily="18" charset="0"/>
              </a:rPr>
              <a:t>ngâ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ố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ầ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ư</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heo</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ác</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ủ</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ầ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ư</a:t>
            </a:r>
            <a:endParaRPr lang="en-US" sz="2400" b="1" spc="-20" dirty="0">
              <a:solidFill>
                <a:srgbClr val="100717"/>
              </a:solidFill>
              <a:latin typeface="Times New Roman" panose="02020603050405020304" pitchFamily="18" charset="0"/>
              <a:cs typeface="Times New Roman" panose="02020603050405020304" pitchFamily="18" charset="0"/>
            </a:endParaRPr>
          </a:p>
          <a:p>
            <a:pPr marL="12700" defTabSz="914400">
              <a:spcBef>
                <a:spcPts val="300"/>
              </a:spcBef>
              <a:defRPr/>
            </a:pPr>
            <a:r>
              <a:rPr lang="en-US" sz="2400" b="1" spc="-20" dirty="0">
                <a:solidFill>
                  <a:srgbClr val="FF0000"/>
                </a:solidFill>
                <a:latin typeface="Times New Roman" panose="02020603050405020304" pitchFamily="18" charset="0"/>
                <a:cs typeface="Times New Roman" panose="02020603050405020304" pitchFamily="18" charset="0"/>
              </a:rPr>
              <a:t>(bao </a:t>
            </a:r>
            <a:r>
              <a:rPr lang="en-US" sz="2400" b="1" spc="-20" dirty="0" err="1">
                <a:solidFill>
                  <a:srgbClr val="FF0000"/>
                </a:solidFill>
                <a:latin typeface="Times New Roman" panose="02020603050405020304" pitchFamily="18" charset="0"/>
                <a:cs typeface="Times New Roman" panose="02020603050405020304" pitchFamily="18" charset="0"/>
              </a:rPr>
              <a:t>gồm</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vốn</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phân</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cấp</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cho</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huyện</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thị</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xã</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thành</a:t>
            </a:r>
            <a:r>
              <a:rPr lang="en-US" sz="2400" b="1" spc="-20" dirty="0">
                <a:solidFill>
                  <a:srgbClr val="FF0000"/>
                </a:solidFill>
                <a:latin typeface="Times New Roman" panose="02020603050405020304" pitchFamily="18" charset="0"/>
                <a:cs typeface="Times New Roman" panose="02020603050405020304" pitchFamily="18" charset="0"/>
              </a:rPr>
              <a:t> </a:t>
            </a:r>
            <a:r>
              <a:rPr lang="en-US" sz="2400" b="1" spc="-20" dirty="0" err="1">
                <a:solidFill>
                  <a:srgbClr val="FF0000"/>
                </a:solidFill>
                <a:latin typeface="Times New Roman" panose="02020603050405020304" pitchFamily="18" charset="0"/>
                <a:cs typeface="Times New Roman" panose="02020603050405020304" pitchFamily="18" charset="0"/>
              </a:rPr>
              <a:t>phố</a:t>
            </a:r>
            <a:r>
              <a:rPr lang="en-US" sz="2400" b="1" spc="-20" dirty="0">
                <a:solidFill>
                  <a:srgbClr val="FF0000"/>
                </a:solidFill>
                <a:latin typeface="Times New Roman" panose="02020603050405020304" pitchFamily="18" charset="0"/>
                <a:cs typeface="Times New Roman" panose="02020603050405020304" pitchFamily="18" charset="0"/>
              </a:rPr>
              <a:t>)</a:t>
            </a:r>
          </a:p>
        </p:txBody>
      </p:sp>
      <p:graphicFrame>
        <p:nvGraphicFramePr>
          <p:cNvPr id="2" name="Table 1">
            <a:extLst>
              <a:ext uri="{FF2B5EF4-FFF2-40B4-BE49-F238E27FC236}">
                <a16:creationId xmlns:a16="http://schemas.microsoft.com/office/drawing/2014/main" xmlns="" id="{0D481DC7-9A4F-AF96-3C2D-0CEF7A93A65F}"/>
              </a:ext>
            </a:extLst>
          </p:cNvPr>
          <p:cNvGraphicFramePr>
            <a:graphicFrameLocks noGrp="1"/>
          </p:cNvGraphicFramePr>
          <p:nvPr/>
        </p:nvGraphicFramePr>
        <p:xfrm>
          <a:off x="363433" y="869469"/>
          <a:ext cx="5257804" cy="5988591"/>
        </p:xfrm>
        <a:graphic>
          <a:graphicData uri="http://schemas.openxmlformats.org/drawingml/2006/table">
            <a:tbl>
              <a:tblPr firstRow="1">
                <a:tableStyleId>{FABFCF23-3B69-468F-B69F-88F6DE6A72F2}</a:tableStyleId>
              </a:tblPr>
              <a:tblGrid>
                <a:gridCol w="320013">
                  <a:extLst>
                    <a:ext uri="{9D8B030D-6E8A-4147-A177-3AD203B41FA5}">
                      <a16:colId xmlns:a16="http://schemas.microsoft.com/office/drawing/2014/main" xmlns="" val="3868946234"/>
                    </a:ext>
                  </a:extLst>
                </a:gridCol>
                <a:gridCol w="1750317">
                  <a:extLst>
                    <a:ext uri="{9D8B030D-6E8A-4147-A177-3AD203B41FA5}">
                      <a16:colId xmlns:a16="http://schemas.microsoft.com/office/drawing/2014/main" xmlns="" val="3277462582"/>
                    </a:ext>
                  </a:extLst>
                </a:gridCol>
                <a:gridCol w="1128587">
                  <a:extLst>
                    <a:ext uri="{9D8B030D-6E8A-4147-A177-3AD203B41FA5}">
                      <a16:colId xmlns:a16="http://schemas.microsoft.com/office/drawing/2014/main" xmlns="" val="581281632"/>
                    </a:ext>
                  </a:extLst>
                </a:gridCol>
                <a:gridCol w="1095375">
                  <a:extLst>
                    <a:ext uri="{9D8B030D-6E8A-4147-A177-3AD203B41FA5}">
                      <a16:colId xmlns:a16="http://schemas.microsoft.com/office/drawing/2014/main" xmlns="" val="4214545911"/>
                    </a:ext>
                  </a:extLst>
                </a:gridCol>
                <a:gridCol w="963512">
                  <a:extLst>
                    <a:ext uri="{9D8B030D-6E8A-4147-A177-3AD203B41FA5}">
                      <a16:colId xmlns:a16="http://schemas.microsoft.com/office/drawing/2014/main" xmlns="" val="3988389745"/>
                    </a:ext>
                  </a:extLst>
                </a:gridCol>
              </a:tblGrid>
              <a:tr h="439233">
                <a:tc>
                  <a:txBody>
                    <a:bodyPr/>
                    <a:lstStyle/>
                    <a:p>
                      <a:pPr algn="ctr" fontAlgn="ctr"/>
                      <a:r>
                        <a:rPr lang="vi-VN" sz="1300" u="none" strike="noStrike">
                          <a:effectLst/>
                          <a:latin typeface="+mj-lt"/>
                        </a:rPr>
                        <a:t>TT</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dirty="0">
                          <a:effectLst/>
                          <a:latin typeface="+mj-lt"/>
                        </a:rPr>
                        <a:t>Chủ đầu tư</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u="none" strike="noStrike" dirty="0">
                          <a:effectLst/>
                          <a:latin typeface="+mj-lt"/>
                        </a:rPr>
                        <a:t>Kế hoạch vốn năm 2023</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u="none" strike="noStrike" dirty="0">
                          <a:effectLst/>
                          <a:latin typeface="+mj-lt"/>
                        </a:rPr>
                        <a:t>Giải ngân 04/5/2023</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u="none" strike="noStrike" dirty="0">
                          <a:effectLst/>
                          <a:latin typeface="+mj-lt"/>
                        </a:rPr>
                        <a:t>Tỷ lệ </a:t>
                      </a:r>
                      <a:br>
                        <a:rPr lang="vi-VN" sz="1300" u="none" strike="noStrike" dirty="0">
                          <a:effectLst/>
                          <a:latin typeface="+mj-lt"/>
                        </a:rPr>
                      </a:br>
                      <a:r>
                        <a:rPr lang="vi-VN" sz="1300" u="none" strike="noStrike" dirty="0">
                          <a:effectLst/>
                          <a:latin typeface="+mj-lt"/>
                        </a:rPr>
                        <a:t>(%)</a:t>
                      </a:r>
                      <a:endParaRPr lang="vi-VN" sz="1300" b="1"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4053434125"/>
                  </a:ext>
                </a:extLst>
              </a:tr>
              <a:tr h="146411">
                <a:tc>
                  <a:txBody>
                    <a:bodyPr/>
                    <a:lstStyle/>
                    <a:p>
                      <a:pPr algn="ctr" fontAlgn="ctr"/>
                      <a:r>
                        <a:rPr lang="vi-VN" sz="1300" u="none" strike="noStrike">
                          <a:effectLst/>
                          <a:latin typeface="+mj-lt"/>
                        </a:rPr>
                        <a:t> </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b="1" u="none" strike="noStrike" dirty="0">
                          <a:effectLst/>
                          <a:latin typeface="+mj-lt"/>
                        </a:rPr>
                        <a:t>TỔNG CỘNG</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a:effectLst/>
                          <a:latin typeface="+mj-lt"/>
                        </a:rPr>
                        <a:t>9.531.527,30</a:t>
                      </a:r>
                      <a:endParaRPr lang="vi-VN" sz="1300" b="1" i="0" u="none" strike="noStrike">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2.161.310,30</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a:effectLst/>
                          <a:latin typeface="+mj-lt"/>
                        </a:rPr>
                        <a:t>22,67</a:t>
                      </a:r>
                      <a:endParaRPr lang="vi-VN" sz="13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945383592"/>
                  </a:ext>
                </a:extLst>
              </a:tr>
              <a:tr h="146411">
                <a:tc>
                  <a:txBody>
                    <a:bodyPr/>
                    <a:lstStyle/>
                    <a:p>
                      <a:pPr algn="ctr" fontAlgn="ctr"/>
                      <a:r>
                        <a:rPr lang="vi-VN" sz="1300" b="1" u="none" strike="noStrike" dirty="0">
                          <a:effectLst/>
                          <a:latin typeface="+mj-lt"/>
                        </a:rPr>
                        <a:t>I</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b="1" u="none" strike="noStrike" dirty="0">
                          <a:effectLst/>
                          <a:latin typeface="+mj-lt"/>
                        </a:rPr>
                        <a:t>Bố trí cho các đơn vị thực hiện</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8.406.945,40</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1.754.024,49</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20,86</a:t>
                      </a:r>
                      <a:endParaRPr lang="vi-VN" sz="1300" b="1"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702572016"/>
                  </a:ext>
                </a:extLst>
              </a:tr>
              <a:tr h="146411">
                <a:tc>
                  <a:txBody>
                    <a:bodyPr/>
                    <a:lstStyle/>
                    <a:p>
                      <a:pPr algn="ctr" fontAlgn="ctr"/>
                      <a:r>
                        <a:rPr lang="vi-VN" sz="1300" u="none" strike="noStrike">
                          <a:effectLst/>
                          <a:latin typeface="+mj-lt"/>
                        </a:rPr>
                        <a:t>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ài chí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4.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dirty="0">
                          <a:effectLst/>
                          <a:latin typeface="+mj-lt"/>
                        </a:rPr>
                        <a:t>64.000,00</a:t>
                      </a:r>
                      <a:endParaRPr lang="vi-VN" sz="1300" b="0" i="0" u="none" strike="noStrike" dirty="0">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089769138"/>
                  </a:ext>
                </a:extLst>
              </a:tr>
              <a:tr h="199119">
                <a:tc>
                  <a:txBody>
                    <a:bodyPr/>
                    <a:lstStyle/>
                    <a:p>
                      <a:pPr algn="ctr" fontAlgn="ctr"/>
                      <a:r>
                        <a:rPr lang="vi-VN" sz="1300" u="none" strike="noStrike">
                          <a:effectLst/>
                          <a:latin typeface="+mj-lt"/>
                        </a:rPr>
                        <a:t>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ư pháp</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956,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8,5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58835034"/>
                  </a:ext>
                </a:extLst>
              </a:tr>
              <a:tr h="146411">
                <a:tc>
                  <a:txBody>
                    <a:bodyPr/>
                    <a:lstStyle/>
                    <a:p>
                      <a:pPr algn="ctr" fontAlgn="ctr"/>
                      <a:r>
                        <a:rPr lang="vi-VN" sz="1300" u="none" strike="noStrike">
                          <a:effectLst/>
                          <a:latin typeface="+mj-lt"/>
                        </a:rPr>
                        <a:t>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Đài PTTH Bình Đị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dirty="0">
                          <a:effectLst/>
                          <a:latin typeface="+mj-lt"/>
                        </a:rPr>
                        <a:t>2.500</a:t>
                      </a:r>
                      <a:endParaRPr lang="vi-VN" sz="1300" b="0" i="0" u="none" strike="noStrike" dirty="0">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50,9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4,04</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889650242"/>
                  </a:ext>
                </a:extLst>
              </a:tr>
              <a:tr h="146411">
                <a:tc>
                  <a:txBody>
                    <a:bodyPr/>
                    <a:lstStyle/>
                    <a:p>
                      <a:pPr algn="ctr" fontAlgn="ctr"/>
                      <a:r>
                        <a:rPr lang="vi-VN" sz="1300" u="none" strike="noStrike">
                          <a:effectLst/>
                          <a:latin typeface="+mj-lt"/>
                        </a:rPr>
                        <a:t>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CH QS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9.769</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6.26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2,8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77977462"/>
                  </a:ext>
                </a:extLst>
              </a:tr>
              <a:tr h="146411">
                <a:tc>
                  <a:txBody>
                    <a:bodyPr/>
                    <a:lstStyle/>
                    <a:p>
                      <a:pPr algn="ctr" fontAlgn="ctr"/>
                      <a:r>
                        <a:rPr lang="vi-VN" sz="1300" u="none" strike="noStrike">
                          <a:effectLst/>
                          <a:latin typeface="+mj-lt"/>
                        </a:rPr>
                        <a:t>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ỉnh đoà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3</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7,6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4,3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980870170"/>
                  </a:ext>
                </a:extLst>
              </a:tr>
              <a:tr h="146411">
                <a:tc>
                  <a:txBody>
                    <a:bodyPr/>
                    <a:lstStyle/>
                    <a:p>
                      <a:pPr algn="ctr" fontAlgn="ctr"/>
                      <a:r>
                        <a:rPr lang="vi-VN" sz="1300" u="none" strike="noStrike">
                          <a:effectLst/>
                          <a:latin typeface="+mj-lt"/>
                        </a:rPr>
                        <a:t>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QL KK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6.985</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6.228,8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4,0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988642728"/>
                  </a:ext>
                </a:extLst>
              </a:tr>
              <a:tr h="146411">
                <a:tc>
                  <a:txBody>
                    <a:bodyPr/>
                    <a:lstStyle/>
                    <a:p>
                      <a:pPr algn="ctr" fontAlgn="ctr"/>
                      <a:r>
                        <a:rPr lang="vi-VN" sz="1300" u="none" strike="noStrike">
                          <a:effectLst/>
                          <a:latin typeface="+mj-lt"/>
                        </a:rPr>
                        <a:t>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rường CĐ Y tế</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6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840,9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0,4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33654322"/>
                  </a:ext>
                </a:extLst>
              </a:tr>
              <a:tr h="146411">
                <a:tc>
                  <a:txBody>
                    <a:bodyPr/>
                    <a:lstStyle/>
                    <a:p>
                      <a:pPr algn="ctr" fontAlgn="ctr"/>
                      <a:r>
                        <a:rPr lang="vi-VN" sz="1300" u="none" strike="noStrike">
                          <a:effectLst/>
                          <a:latin typeface="+mj-lt"/>
                        </a:rPr>
                        <a:t>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KH&amp;Đ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51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3,4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722955705"/>
                  </a:ext>
                </a:extLst>
              </a:tr>
              <a:tr h="146411">
                <a:tc>
                  <a:txBody>
                    <a:bodyPr/>
                    <a:lstStyle/>
                    <a:p>
                      <a:pPr algn="ctr" fontAlgn="ctr"/>
                      <a:r>
                        <a:rPr lang="vi-VN" sz="1300" u="none" strike="noStrike">
                          <a:effectLst/>
                          <a:latin typeface="+mj-lt"/>
                        </a:rPr>
                        <a:t>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CH BĐ Biên phòng</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04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74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3,1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558417332"/>
                  </a:ext>
                </a:extLst>
              </a:tr>
              <a:tr h="146411">
                <a:tc>
                  <a:txBody>
                    <a:bodyPr/>
                    <a:lstStyle/>
                    <a:p>
                      <a:pPr algn="ctr" fontAlgn="ctr"/>
                      <a:r>
                        <a:rPr lang="vi-VN" sz="1300" u="none" strike="noStrike">
                          <a:effectLst/>
                          <a:latin typeface="+mj-lt"/>
                        </a:rPr>
                        <a:t>1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KH&amp;C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68,8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2,3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80657348"/>
                  </a:ext>
                </a:extLst>
              </a:tr>
              <a:tr h="146411">
                <a:tc>
                  <a:txBody>
                    <a:bodyPr/>
                    <a:lstStyle/>
                    <a:p>
                      <a:pPr algn="ctr" fontAlgn="ctr"/>
                      <a:r>
                        <a:rPr lang="vi-VN" sz="1300" u="none" strike="noStrike">
                          <a:effectLst/>
                          <a:latin typeface="+mj-lt"/>
                        </a:rPr>
                        <a:t>1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QLDA NN&amp;PTN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44.33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14.836,7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15</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550379861"/>
                  </a:ext>
                </a:extLst>
              </a:tr>
              <a:tr h="146411">
                <a:tc>
                  <a:txBody>
                    <a:bodyPr/>
                    <a:lstStyle/>
                    <a:p>
                      <a:pPr algn="ctr" fontAlgn="ctr"/>
                      <a:r>
                        <a:rPr lang="vi-VN" sz="1300" u="none" strike="noStrike">
                          <a:effectLst/>
                          <a:latin typeface="+mj-lt"/>
                        </a:rPr>
                        <a:t>1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NN&amp;PTN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5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8,5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025201121"/>
                  </a:ext>
                </a:extLst>
              </a:tr>
              <a:tr h="146411">
                <a:tc>
                  <a:txBody>
                    <a:bodyPr/>
                    <a:lstStyle/>
                    <a:p>
                      <a:pPr algn="ctr" fontAlgn="ctr"/>
                      <a:r>
                        <a:rPr lang="vi-VN" sz="1300" u="none" strike="noStrike">
                          <a:effectLst/>
                          <a:latin typeface="+mj-lt"/>
                        </a:rPr>
                        <a:t>1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Hoài Â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43.148,9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0.861,4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8,54</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679992694"/>
                  </a:ext>
                </a:extLst>
              </a:tr>
              <a:tr h="146411">
                <a:tc>
                  <a:txBody>
                    <a:bodyPr/>
                    <a:lstStyle/>
                    <a:p>
                      <a:pPr algn="ctr" fontAlgn="ctr"/>
                      <a:r>
                        <a:rPr lang="vi-VN" sz="1300" u="none" strike="noStrike">
                          <a:effectLst/>
                          <a:latin typeface="+mj-lt"/>
                        </a:rPr>
                        <a:t>1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T Phát triển Quỹ đấ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4.48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487,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6,6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13159891"/>
                  </a:ext>
                </a:extLst>
              </a:tr>
              <a:tr h="146411">
                <a:tc>
                  <a:txBody>
                    <a:bodyPr/>
                    <a:lstStyle/>
                    <a:p>
                      <a:pPr algn="ctr" fontAlgn="ctr"/>
                      <a:r>
                        <a:rPr lang="vi-VN" sz="1300" u="none" strike="noStrike">
                          <a:effectLst/>
                          <a:latin typeface="+mj-lt"/>
                        </a:rPr>
                        <a:t>1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Phù Mỹ</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8.727,7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2.277,2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6,0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672246477"/>
                  </a:ext>
                </a:extLst>
              </a:tr>
              <a:tr h="146411">
                <a:tc>
                  <a:txBody>
                    <a:bodyPr/>
                    <a:lstStyle/>
                    <a:p>
                      <a:pPr algn="ctr" fontAlgn="ctr"/>
                      <a:r>
                        <a:rPr lang="vi-VN" sz="1300" u="none" strike="noStrike">
                          <a:effectLst/>
                          <a:latin typeface="+mj-lt"/>
                        </a:rPr>
                        <a:t>1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Phù Cá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57.00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5.010,53</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81</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052171501"/>
                  </a:ext>
                </a:extLst>
              </a:tr>
              <a:tr h="146411">
                <a:tc>
                  <a:txBody>
                    <a:bodyPr/>
                    <a:lstStyle/>
                    <a:p>
                      <a:pPr algn="ctr" fontAlgn="ctr"/>
                      <a:r>
                        <a:rPr lang="vi-VN" sz="1300" u="none" strike="noStrike">
                          <a:effectLst/>
                          <a:latin typeface="+mj-lt"/>
                        </a:rPr>
                        <a:t>1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thị xã Hoài Nh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99.752,0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7.826,2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58</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84560888"/>
                  </a:ext>
                </a:extLst>
              </a:tr>
              <a:tr h="146411">
                <a:tc>
                  <a:txBody>
                    <a:bodyPr/>
                    <a:lstStyle/>
                    <a:p>
                      <a:pPr algn="ctr" fontAlgn="ctr"/>
                      <a:r>
                        <a:rPr lang="vi-VN" sz="1300" u="none" strike="noStrike">
                          <a:effectLst/>
                          <a:latin typeface="+mj-lt"/>
                        </a:rPr>
                        <a:t>1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VĐK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4.95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403,7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66</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17628447"/>
                  </a:ext>
                </a:extLst>
              </a:tr>
              <a:tr h="146411">
                <a:tc>
                  <a:txBody>
                    <a:bodyPr/>
                    <a:lstStyle/>
                    <a:p>
                      <a:pPr algn="ctr" fontAlgn="ctr"/>
                      <a:r>
                        <a:rPr lang="vi-VN" sz="1300" u="none" strike="noStrike">
                          <a:effectLst/>
                          <a:latin typeface="+mj-lt"/>
                        </a:rPr>
                        <a:t>1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QLDA Giao thông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39.95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88.267,0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0,8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517982031"/>
                  </a:ext>
                </a:extLst>
              </a:tr>
              <a:tr h="146411">
                <a:tc>
                  <a:txBody>
                    <a:bodyPr/>
                    <a:lstStyle/>
                    <a:p>
                      <a:pPr algn="ctr" fontAlgn="ctr"/>
                      <a:r>
                        <a:rPr lang="vi-VN" sz="1300" u="none" strike="noStrike">
                          <a:effectLst/>
                          <a:latin typeface="+mj-lt"/>
                        </a:rPr>
                        <a:t>2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An Lão</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62.232,4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4.846,5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7,1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108936504"/>
                  </a:ext>
                </a:extLst>
              </a:tr>
              <a:tr h="146411">
                <a:tc>
                  <a:txBody>
                    <a:bodyPr/>
                    <a:lstStyle/>
                    <a:p>
                      <a:pPr algn="ctr" fontAlgn="ctr"/>
                      <a:r>
                        <a:rPr lang="vi-VN" sz="1300" u="none" strike="noStrike">
                          <a:effectLst/>
                          <a:latin typeface="+mj-lt"/>
                        </a:rPr>
                        <a:t>2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Vĩnh Thạ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0.965,5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400,95</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6,9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692851702"/>
                  </a:ext>
                </a:extLst>
              </a:tr>
              <a:tr h="199119">
                <a:tc>
                  <a:txBody>
                    <a:bodyPr/>
                    <a:lstStyle/>
                    <a:p>
                      <a:pPr algn="ctr" fontAlgn="ctr"/>
                      <a:r>
                        <a:rPr lang="vi-VN" sz="1300" u="none" strike="noStrike">
                          <a:effectLst/>
                          <a:latin typeface="+mj-lt"/>
                        </a:rPr>
                        <a:t>2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thị xã An Nh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01.324,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7.161,29</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6,71</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11986199"/>
                  </a:ext>
                </a:extLst>
              </a:tr>
              <a:tr h="146411">
                <a:tc>
                  <a:txBody>
                    <a:bodyPr/>
                    <a:lstStyle/>
                    <a:p>
                      <a:pPr algn="ctr" fontAlgn="ctr"/>
                      <a:r>
                        <a:rPr lang="vi-VN" sz="1300" u="none" strike="noStrike">
                          <a:effectLst/>
                          <a:latin typeface="+mj-lt"/>
                        </a:rPr>
                        <a:t>2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GTV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28.56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055,3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6,38</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727393439"/>
                  </a:ext>
                </a:extLst>
              </a:tr>
              <a:tr h="146411">
                <a:tc>
                  <a:txBody>
                    <a:bodyPr/>
                    <a:lstStyle/>
                    <a:p>
                      <a:pPr algn="ctr" fontAlgn="ctr"/>
                      <a:r>
                        <a:rPr lang="vi-VN" sz="1300" u="none" strike="noStrike">
                          <a:effectLst/>
                          <a:latin typeface="+mj-lt"/>
                        </a:rPr>
                        <a:t>2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GPMB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71.91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3.372,5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dirty="0">
                          <a:effectLst/>
                          <a:latin typeface="+mj-lt"/>
                        </a:rPr>
                        <a:t>15,95</a:t>
                      </a:r>
                      <a:endParaRPr lang="vi-VN" sz="13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2423571934"/>
                  </a:ext>
                </a:extLst>
              </a:tr>
            </a:tbl>
          </a:graphicData>
        </a:graphic>
      </p:graphicFrame>
      <p:graphicFrame>
        <p:nvGraphicFramePr>
          <p:cNvPr id="3" name="Table 2">
            <a:extLst>
              <a:ext uri="{FF2B5EF4-FFF2-40B4-BE49-F238E27FC236}">
                <a16:creationId xmlns:a16="http://schemas.microsoft.com/office/drawing/2014/main" xmlns="" id="{B196F340-F0E5-20C5-22F5-536B7C99766C}"/>
              </a:ext>
            </a:extLst>
          </p:cNvPr>
          <p:cNvGraphicFramePr>
            <a:graphicFrameLocks noGrp="1"/>
          </p:cNvGraphicFramePr>
          <p:nvPr/>
        </p:nvGraphicFramePr>
        <p:xfrm>
          <a:off x="5843480" y="869469"/>
          <a:ext cx="5985087" cy="5238362"/>
        </p:xfrm>
        <a:graphic>
          <a:graphicData uri="http://schemas.openxmlformats.org/drawingml/2006/table">
            <a:tbl>
              <a:tblPr firstRow="1">
                <a:tableStyleId>{FABFCF23-3B69-468F-B69F-88F6DE6A72F2}</a:tableStyleId>
              </a:tblPr>
              <a:tblGrid>
                <a:gridCol w="482191">
                  <a:extLst>
                    <a:ext uri="{9D8B030D-6E8A-4147-A177-3AD203B41FA5}">
                      <a16:colId xmlns:a16="http://schemas.microsoft.com/office/drawing/2014/main" xmlns="" val="2941668135"/>
                    </a:ext>
                  </a:extLst>
                </a:gridCol>
                <a:gridCol w="2208729">
                  <a:extLst>
                    <a:ext uri="{9D8B030D-6E8A-4147-A177-3AD203B41FA5}">
                      <a16:colId xmlns:a16="http://schemas.microsoft.com/office/drawing/2014/main" xmlns="" val="1971568410"/>
                    </a:ext>
                  </a:extLst>
                </a:gridCol>
                <a:gridCol w="1123950">
                  <a:extLst>
                    <a:ext uri="{9D8B030D-6E8A-4147-A177-3AD203B41FA5}">
                      <a16:colId xmlns:a16="http://schemas.microsoft.com/office/drawing/2014/main" xmlns="" val="453160219"/>
                    </a:ext>
                  </a:extLst>
                </a:gridCol>
                <a:gridCol w="1171575">
                  <a:extLst>
                    <a:ext uri="{9D8B030D-6E8A-4147-A177-3AD203B41FA5}">
                      <a16:colId xmlns:a16="http://schemas.microsoft.com/office/drawing/2014/main" xmlns="" val="2642420502"/>
                    </a:ext>
                  </a:extLst>
                </a:gridCol>
                <a:gridCol w="998642">
                  <a:extLst>
                    <a:ext uri="{9D8B030D-6E8A-4147-A177-3AD203B41FA5}">
                      <a16:colId xmlns:a16="http://schemas.microsoft.com/office/drawing/2014/main" xmlns="" val="4222808991"/>
                    </a:ext>
                  </a:extLst>
                </a:gridCol>
              </a:tblGrid>
              <a:tr h="483482">
                <a:tc>
                  <a:txBody>
                    <a:bodyPr/>
                    <a:lstStyle/>
                    <a:p>
                      <a:pPr algn="ctr" fontAlgn="ctr"/>
                      <a:r>
                        <a:rPr lang="vi-VN" sz="1300" u="none" strike="noStrike" dirty="0">
                          <a:effectLst/>
                          <a:latin typeface="+mj-lt"/>
                        </a:rPr>
                        <a:t>TT</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Chủ đầu tư</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Kế hoạch vốn năm 2023</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Giải ngân 04/5/2023</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Tỷ lệ </a:t>
                      </a:r>
                      <a:br>
                        <a:rPr lang="vi-VN" sz="1300" u="none" strike="noStrike">
                          <a:effectLst/>
                          <a:latin typeface="+mj-lt"/>
                        </a:rPr>
                      </a:br>
                      <a:r>
                        <a:rPr lang="vi-VN" sz="1300" u="none" strike="noStrike">
                          <a:effectLst/>
                          <a:latin typeface="+mj-lt"/>
                        </a:rPr>
                        <a:t>(%)</a:t>
                      </a:r>
                      <a:endParaRPr lang="vi-VN" sz="13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23246039"/>
                  </a:ext>
                </a:extLst>
              </a:tr>
              <a:tr h="161161">
                <a:tc>
                  <a:txBody>
                    <a:bodyPr/>
                    <a:lstStyle/>
                    <a:p>
                      <a:pPr algn="ctr" fontAlgn="ctr"/>
                      <a:r>
                        <a:rPr lang="vi-VN" sz="1300" u="none" strike="noStrike">
                          <a:effectLst/>
                          <a:latin typeface="+mj-lt"/>
                        </a:rPr>
                        <a:t>2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dirty="0">
                          <a:effectLst/>
                          <a:latin typeface="+mj-lt"/>
                        </a:rPr>
                        <a:t>UBND TP Quy Nhơn</a:t>
                      </a:r>
                      <a:endParaRPr lang="vi-VN" sz="1300" b="0" i="0" u="none" strike="noStrike" dirty="0">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66.594,6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7.067,75</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3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396787106"/>
                  </a:ext>
                </a:extLst>
              </a:tr>
              <a:tr h="161161">
                <a:tc>
                  <a:txBody>
                    <a:bodyPr/>
                    <a:lstStyle/>
                    <a:p>
                      <a:pPr algn="ctr" fontAlgn="ctr"/>
                      <a:r>
                        <a:rPr lang="vi-VN" sz="1300" u="none" strike="noStrike">
                          <a:effectLst/>
                          <a:latin typeface="+mj-lt"/>
                        </a:rPr>
                        <a:t>2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dirty="0">
                          <a:effectLst/>
                          <a:latin typeface="+mj-lt"/>
                        </a:rPr>
                        <a:t>Sở Y tế</a:t>
                      </a:r>
                      <a:endParaRPr lang="vi-VN" sz="1300" b="0" i="0" u="none" strike="noStrike" dirty="0">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8.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748,2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1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207371854"/>
                  </a:ext>
                </a:extLst>
              </a:tr>
              <a:tr h="161161">
                <a:tc>
                  <a:txBody>
                    <a:bodyPr/>
                    <a:lstStyle/>
                    <a:p>
                      <a:pPr algn="ctr" fontAlgn="ctr"/>
                      <a:r>
                        <a:rPr lang="vi-VN" sz="1300" u="none" strike="noStrike">
                          <a:effectLst/>
                          <a:latin typeface="+mj-lt"/>
                        </a:rPr>
                        <a:t>2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QLDA XD DD&amp;C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12.75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9.984,7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3,65</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04026664"/>
                  </a:ext>
                </a:extLst>
              </a:tr>
              <a:tr h="161161">
                <a:tc>
                  <a:txBody>
                    <a:bodyPr/>
                    <a:lstStyle/>
                    <a:p>
                      <a:pPr algn="ctr" fontAlgn="ctr"/>
                      <a:r>
                        <a:rPr lang="vi-VN" sz="1300" u="none" strike="noStrike">
                          <a:effectLst/>
                          <a:latin typeface="+mj-lt"/>
                        </a:rPr>
                        <a:t>2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Tây S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21.662,0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4.473,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04</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214441321"/>
                  </a:ext>
                </a:extLst>
              </a:tr>
              <a:tr h="161161">
                <a:tc>
                  <a:txBody>
                    <a:bodyPr/>
                    <a:lstStyle/>
                    <a:p>
                      <a:pPr algn="ctr" fontAlgn="ctr"/>
                      <a:r>
                        <a:rPr lang="vi-VN" sz="1300" u="none" strike="noStrike">
                          <a:effectLst/>
                          <a:latin typeface="+mj-lt"/>
                        </a:rPr>
                        <a:t>2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Vân Ca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7.648,3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391,93</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81</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402021613"/>
                  </a:ext>
                </a:extLst>
              </a:tr>
              <a:tr h="161161">
                <a:tc>
                  <a:txBody>
                    <a:bodyPr/>
                    <a:lstStyle/>
                    <a:p>
                      <a:pPr algn="ctr" fontAlgn="ctr"/>
                      <a:r>
                        <a:rPr lang="vi-VN" sz="1300" u="none" strike="noStrike">
                          <a:effectLst/>
                          <a:latin typeface="+mj-lt"/>
                        </a:rPr>
                        <a:t>3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GD&amp;Đ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2.19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096,1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76</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243130245"/>
                  </a:ext>
                </a:extLst>
              </a:tr>
              <a:tr h="161161">
                <a:tc>
                  <a:txBody>
                    <a:bodyPr/>
                    <a:lstStyle/>
                    <a:p>
                      <a:pPr algn="ctr" fontAlgn="ctr"/>
                      <a:r>
                        <a:rPr lang="vi-VN" sz="1300" u="none" strike="noStrike">
                          <a:effectLst/>
                          <a:latin typeface="+mj-lt"/>
                        </a:rPr>
                        <a:t>3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LĐ, TB, X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56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13,4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11</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86325487"/>
                  </a:ext>
                </a:extLst>
              </a:tr>
              <a:tr h="161161">
                <a:tc>
                  <a:txBody>
                    <a:bodyPr/>
                    <a:lstStyle/>
                    <a:p>
                      <a:pPr algn="ctr" fontAlgn="ctr"/>
                      <a:r>
                        <a:rPr lang="vi-VN" sz="1300" u="none" strike="noStrike">
                          <a:effectLst/>
                          <a:latin typeface="+mj-lt"/>
                        </a:rPr>
                        <a:t>3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T NS và VSMT nông thô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5.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643,9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1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836753813"/>
                  </a:ext>
                </a:extLst>
              </a:tr>
              <a:tr h="161161">
                <a:tc>
                  <a:txBody>
                    <a:bodyPr/>
                    <a:lstStyle/>
                    <a:p>
                      <a:pPr algn="ctr" fontAlgn="ctr"/>
                      <a:r>
                        <a:rPr lang="vi-VN" sz="1300" u="none" strike="noStrike">
                          <a:effectLst/>
                          <a:latin typeface="+mj-lt"/>
                        </a:rPr>
                        <a:t>3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Tuy Phước</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49.610,2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408,3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627324123"/>
                  </a:ext>
                </a:extLst>
              </a:tr>
              <a:tr h="161161">
                <a:tc>
                  <a:txBody>
                    <a:bodyPr/>
                    <a:lstStyle/>
                    <a:p>
                      <a:pPr algn="ctr" fontAlgn="ctr"/>
                      <a:r>
                        <a:rPr lang="vi-VN" sz="1300" u="none" strike="noStrike">
                          <a:effectLst/>
                          <a:latin typeface="+mj-lt"/>
                        </a:rPr>
                        <a:t>3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dirty="0">
                          <a:effectLst/>
                          <a:latin typeface="+mj-lt"/>
                        </a:rPr>
                        <a:t>Công an tỉnh</a:t>
                      </a:r>
                      <a:endParaRPr lang="vi-VN" sz="1300" b="0" i="0" u="none" strike="noStrike" dirty="0">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0.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738524954"/>
                  </a:ext>
                </a:extLst>
              </a:tr>
              <a:tr h="161161">
                <a:tc>
                  <a:txBody>
                    <a:bodyPr/>
                    <a:lstStyle/>
                    <a:p>
                      <a:pPr algn="ctr" fontAlgn="ctr"/>
                      <a:r>
                        <a:rPr lang="vi-VN" sz="1300" u="none" strike="noStrike">
                          <a:effectLst/>
                          <a:latin typeface="+mj-lt"/>
                        </a:rPr>
                        <a:t>3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Liên minh HTX</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509447335"/>
                  </a:ext>
                </a:extLst>
              </a:tr>
              <a:tr h="161161">
                <a:tc>
                  <a:txBody>
                    <a:bodyPr/>
                    <a:lstStyle/>
                    <a:p>
                      <a:pPr algn="ctr" fontAlgn="ctr"/>
                      <a:r>
                        <a:rPr lang="vi-VN" sz="1300" u="none" strike="noStrike">
                          <a:effectLst/>
                          <a:latin typeface="+mj-lt"/>
                        </a:rPr>
                        <a:t>3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Công Thương</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5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266258837"/>
                  </a:ext>
                </a:extLst>
              </a:tr>
              <a:tr h="161161">
                <a:tc>
                  <a:txBody>
                    <a:bodyPr/>
                    <a:lstStyle/>
                    <a:p>
                      <a:pPr algn="ctr" fontAlgn="ctr"/>
                      <a:r>
                        <a:rPr lang="vi-VN" sz="1300" u="none" strike="noStrike">
                          <a:effectLst/>
                          <a:latin typeface="+mj-lt"/>
                        </a:rPr>
                        <a:t>3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Nội vụ</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88762223"/>
                  </a:ext>
                </a:extLst>
              </a:tr>
              <a:tr h="161161">
                <a:tc>
                  <a:txBody>
                    <a:bodyPr/>
                    <a:lstStyle/>
                    <a:p>
                      <a:pPr algn="ctr" fontAlgn="ctr"/>
                      <a:r>
                        <a:rPr lang="vi-VN" sz="1300" u="none" strike="noStrike">
                          <a:effectLst/>
                          <a:latin typeface="+mj-lt"/>
                        </a:rPr>
                        <a:t>3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N&amp;M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092497172"/>
                  </a:ext>
                </a:extLst>
              </a:tr>
              <a:tr h="161161">
                <a:tc>
                  <a:txBody>
                    <a:bodyPr/>
                    <a:lstStyle/>
                    <a:p>
                      <a:pPr algn="ctr" fontAlgn="ctr"/>
                      <a:r>
                        <a:rPr lang="vi-VN" sz="1300" u="none" strike="noStrike">
                          <a:effectLst/>
                          <a:latin typeface="+mj-lt"/>
                        </a:rPr>
                        <a:t>3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hông tin và Truyền thông</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5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084809909"/>
                  </a:ext>
                </a:extLst>
              </a:tr>
              <a:tr h="161161">
                <a:tc>
                  <a:txBody>
                    <a:bodyPr/>
                    <a:lstStyle/>
                    <a:p>
                      <a:pPr algn="ctr" fontAlgn="ctr"/>
                      <a:r>
                        <a:rPr lang="vi-VN" sz="1300" u="none" strike="noStrike">
                          <a:effectLst/>
                          <a:latin typeface="+mj-lt"/>
                        </a:rPr>
                        <a:t>4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VH&amp;T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6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897889123"/>
                  </a:ext>
                </a:extLst>
              </a:tr>
              <a:tr h="161161">
                <a:tc>
                  <a:txBody>
                    <a:bodyPr/>
                    <a:lstStyle/>
                    <a:p>
                      <a:pPr algn="ctr" fontAlgn="ctr"/>
                      <a:r>
                        <a:rPr lang="vi-VN" sz="1300" u="none" strike="noStrike">
                          <a:effectLst/>
                          <a:latin typeface="+mj-lt"/>
                        </a:rPr>
                        <a:t>4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rường Chính trị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64600716"/>
                  </a:ext>
                </a:extLst>
              </a:tr>
              <a:tr h="161161">
                <a:tc>
                  <a:txBody>
                    <a:bodyPr/>
                    <a:lstStyle/>
                    <a:p>
                      <a:pPr algn="ctr" fontAlgn="ctr"/>
                      <a:r>
                        <a:rPr lang="vi-VN" sz="1300" u="none" strike="noStrike">
                          <a:effectLst/>
                          <a:latin typeface="+mj-lt"/>
                        </a:rPr>
                        <a:t>4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VP Đoàn ĐBQH và HĐND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7.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123562996"/>
                  </a:ext>
                </a:extLst>
              </a:tr>
              <a:tr h="161161">
                <a:tc>
                  <a:txBody>
                    <a:bodyPr/>
                    <a:lstStyle/>
                    <a:p>
                      <a:pPr algn="ctr" fontAlgn="ctr"/>
                      <a:r>
                        <a:rPr lang="vi-VN" sz="1300" u="none" strike="noStrike">
                          <a:effectLst/>
                          <a:latin typeface="+mj-lt"/>
                        </a:rPr>
                        <a:t>4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VP Tỉnh ủy</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257409730"/>
                  </a:ext>
                </a:extLst>
              </a:tr>
              <a:tr h="161161">
                <a:tc>
                  <a:txBody>
                    <a:bodyPr/>
                    <a:lstStyle/>
                    <a:p>
                      <a:pPr algn="ctr" fontAlgn="ctr"/>
                      <a:r>
                        <a:rPr lang="vi-VN" sz="1300" u="none" strike="noStrike">
                          <a:effectLst/>
                          <a:latin typeface="+mj-lt"/>
                        </a:rPr>
                        <a:t>4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VP UBND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48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635629898"/>
                  </a:ext>
                </a:extLst>
              </a:tr>
              <a:tr h="644643">
                <a:tc>
                  <a:txBody>
                    <a:bodyPr/>
                    <a:lstStyle/>
                    <a:p>
                      <a:pPr algn="ctr" fontAlgn="ctr"/>
                      <a:r>
                        <a:rPr lang="vi-VN" sz="1300" b="1" u="none" strike="noStrike" dirty="0">
                          <a:effectLst/>
                          <a:latin typeface="+mj-lt"/>
                        </a:rPr>
                        <a:t>II</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b="1" u="none" strike="noStrike" dirty="0">
                          <a:effectLst/>
                          <a:latin typeface="+mj-lt"/>
                        </a:rPr>
                        <a:t>Các khoản thu hồi ứng trước NSTW, trả nợ vay ngân sách và các nhiệm vụ khác chờ phân bổ chi tiết</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1.124.581,90</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407.285,81</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36,22</a:t>
                      </a:r>
                      <a:endParaRPr lang="vi-VN" sz="1300" b="1"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562276585"/>
                  </a:ext>
                </a:extLst>
              </a:tr>
            </a:tbl>
          </a:graphicData>
        </a:graphic>
      </p:graphicFrame>
      <p:sp>
        <p:nvSpPr>
          <p:cNvPr id="4" name="TextBox 3">
            <a:extLst>
              <a:ext uri="{FF2B5EF4-FFF2-40B4-BE49-F238E27FC236}">
                <a16:creationId xmlns:a16="http://schemas.microsoft.com/office/drawing/2014/main" xmlns="" id="{11B4B638-D8C9-63CB-0C4C-AF8CBBC88A8B}"/>
              </a:ext>
            </a:extLst>
          </p:cNvPr>
          <p:cNvSpPr txBox="1"/>
          <p:nvPr/>
        </p:nvSpPr>
        <p:spPr>
          <a:xfrm>
            <a:off x="10163175" y="304800"/>
            <a:ext cx="1887635" cy="338554"/>
          </a:xfrm>
          <a:prstGeom prst="rect">
            <a:avLst/>
          </a:prstGeom>
          <a:noFill/>
        </p:spPr>
        <p:txBody>
          <a:bodyPr wrap="square" rtlCol="0">
            <a:spAutoFit/>
          </a:bodyPr>
          <a:lstStyle/>
          <a:p>
            <a:r>
              <a:rPr lang="en-US" sz="1600" b="1" i="1" dirty="0" err="1">
                <a:latin typeface="Times New Roman" panose="02020603050405020304" pitchFamily="18" charset="0"/>
                <a:cs typeface="Times New Roman" panose="02020603050405020304" pitchFamily="18" charset="0"/>
              </a:rPr>
              <a:t>ĐVT</a:t>
            </a:r>
            <a:r>
              <a:rPr lang="en-US" sz="1600" b="1" i="1" dirty="0">
                <a:latin typeface="Times New Roman" panose="02020603050405020304" pitchFamily="18" charset="0"/>
                <a:cs typeface="Times New Roman" panose="02020603050405020304" pitchFamily="18" charset="0"/>
              </a:rPr>
              <a:t>: </a:t>
            </a:r>
            <a:r>
              <a:rPr lang="en-US" sz="1600" b="1" i="1" dirty="0" err="1">
                <a:latin typeface="Times New Roman" panose="02020603050405020304" pitchFamily="18" charset="0"/>
                <a:cs typeface="Times New Roman" panose="02020603050405020304" pitchFamily="18" charset="0"/>
              </a:rPr>
              <a:t>triệu</a:t>
            </a:r>
            <a:r>
              <a:rPr lang="en-US" sz="1600" b="1" i="1" dirty="0">
                <a:latin typeface="Times New Roman" panose="02020603050405020304" pitchFamily="18" charset="0"/>
                <a:cs typeface="Times New Roman" panose="02020603050405020304" pitchFamily="18" charset="0"/>
              </a:rPr>
              <a:t> </a:t>
            </a:r>
            <a:r>
              <a:rPr lang="en-US" sz="1600" b="1" i="1" dirty="0" err="1">
                <a:latin typeface="Times New Roman" panose="02020603050405020304" pitchFamily="18" charset="0"/>
                <a:cs typeface="Times New Roman" panose="02020603050405020304" pitchFamily="18" charset="0"/>
              </a:rPr>
              <a:t>đồng</a:t>
            </a:r>
            <a:endParaRPr lang="vi-VN" sz="1600" b="1"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7476185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01DC26C3-E6F4-C27A-8624-3A65D81B6008}"/>
              </a:ext>
            </a:extLst>
          </p:cNvPr>
          <p:cNvSpPr/>
          <p:nvPr/>
        </p:nvSpPr>
        <p:spPr>
          <a:xfrm>
            <a:off x="277706" y="0"/>
            <a:ext cx="9680025" cy="830997"/>
          </a:xfrm>
          <a:prstGeom prst="rect">
            <a:avLst/>
          </a:prstGeom>
        </p:spPr>
        <p:txBody>
          <a:bodyPr wrap="squar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4</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Giả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â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ố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ầ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ư</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heo</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ác</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ủ</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ầ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ư</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Bố</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í</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o</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ự</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á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heo</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Quyế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ịn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số</a:t>
            </a:r>
            <a:r>
              <a:rPr lang="en-US" sz="2400" b="1" spc="-20">
                <a:solidFill>
                  <a:srgbClr val="100717"/>
                </a:solidFill>
                <a:latin typeface="Times New Roman" panose="02020603050405020304" pitchFamily="18" charset="0"/>
                <a:cs typeface="Times New Roman" panose="02020603050405020304" pitchFamily="18" charset="0"/>
              </a:rPr>
              <a:t> 26/2021/QĐ-UBND</a:t>
            </a:r>
            <a:endParaRPr lang="en-US" sz="2400" b="1" spc="-20" dirty="0">
              <a:solidFill>
                <a:srgbClr val="FF0000"/>
              </a:solidFill>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xmlns="" id="{11B4B638-D8C9-63CB-0C4C-AF8CBBC88A8B}"/>
              </a:ext>
            </a:extLst>
          </p:cNvPr>
          <p:cNvSpPr txBox="1"/>
          <p:nvPr/>
        </p:nvSpPr>
        <p:spPr>
          <a:xfrm>
            <a:off x="9651447" y="614613"/>
            <a:ext cx="1887635" cy="338554"/>
          </a:xfrm>
          <a:prstGeom prst="rect">
            <a:avLst/>
          </a:prstGeom>
          <a:noFill/>
        </p:spPr>
        <p:txBody>
          <a:bodyPr wrap="square" rtlCol="0">
            <a:spAutoFit/>
          </a:bodyPr>
          <a:lstStyle/>
          <a:p>
            <a:r>
              <a:rPr lang="en-US" sz="1600" b="1" i="1" dirty="0" err="1">
                <a:latin typeface="Times New Roman" panose="02020603050405020304" pitchFamily="18" charset="0"/>
                <a:cs typeface="Times New Roman" panose="02020603050405020304" pitchFamily="18" charset="0"/>
              </a:rPr>
              <a:t>ĐVT</a:t>
            </a:r>
            <a:r>
              <a:rPr lang="en-US" sz="1600" b="1" i="1" dirty="0">
                <a:latin typeface="Times New Roman" panose="02020603050405020304" pitchFamily="18" charset="0"/>
                <a:cs typeface="Times New Roman" panose="02020603050405020304" pitchFamily="18" charset="0"/>
              </a:rPr>
              <a:t>: </a:t>
            </a:r>
            <a:r>
              <a:rPr lang="en-US" sz="1600" b="1" i="1" dirty="0" err="1">
                <a:latin typeface="Times New Roman" panose="02020603050405020304" pitchFamily="18" charset="0"/>
                <a:cs typeface="Times New Roman" panose="02020603050405020304" pitchFamily="18" charset="0"/>
              </a:rPr>
              <a:t>triệu</a:t>
            </a:r>
            <a:r>
              <a:rPr lang="en-US" sz="1600" b="1" i="1" dirty="0">
                <a:latin typeface="Times New Roman" panose="02020603050405020304" pitchFamily="18" charset="0"/>
                <a:cs typeface="Times New Roman" panose="02020603050405020304" pitchFamily="18" charset="0"/>
              </a:rPr>
              <a:t> </a:t>
            </a:r>
            <a:r>
              <a:rPr lang="en-US" sz="1600" b="1" i="1" dirty="0" err="1">
                <a:latin typeface="Times New Roman" panose="02020603050405020304" pitchFamily="18" charset="0"/>
                <a:cs typeface="Times New Roman" panose="02020603050405020304" pitchFamily="18" charset="0"/>
              </a:rPr>
              <a:t>đồng</a:t>
            </a:r>
            <a:endParaRPr lang="vi-VN" sz="1600" b="1" i="1" dirty="0">
              <a:latin typeface="Times New Roman" panose="02020603050405020304" pitchFamily="18"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xmlns="" id="{99914E41-48A5-82A1-C094-3A8156571A21}"/>
              </a:ext>
            </a:extLst>
          </p:cNvPr>
          <p:cNvGraphicFramePr>
            <a:graphicFrameLocks noGrp="1"/>
          </p:cNvGraphicFramePr>
          <p:nvPr/>
        </p:nvGraphicFramePr>
        <p:xfrm>
          <a:off x="277707" y="953167"/>
          <a:ext cx="5183526" cy="5790471"/>
        </p:xfrm>
        <a:graphic>
          <a:graphicData uri="http://schemas.openxmlformats.org/drawingml/2006/table">
            <a:tbl>
              <a:tblPr firstRow="1">
                <a:tableStyleId>{FABFCF23-3B69-468F-B69F-88F6DE6A72F2}</a:tableStyleId>
              </a:tblPr>
              <a:tblGrid>
                <a:gridCol w="427399">
                  <a:extLst>
                    <a:ext uri="{9D8B030D-6E8A-4147-A177-3AD203B41FA5}">
                      <a16:colId xmlns:a16="http://schemas.microsoft.com/office/drawing/2014/main" xmlns="" val="1941517494"/>
                    </a:ext>
                  </a:extLst>
                </a:gridCol>
                <a:gridCol w="2054872">
                  <a:extLst>
                    <a:ext uri="{9D8B030D-6E8A-4147-A177-3AD203B41FA5}">
                      <a16:colId xmlns:a16="http://schemas.microsoft.com/office/drawing/2014/main" xmlns="" val="4140018382"/>
                    </a:ext>
                  </a:extLst>
                </a:gridCol>
                <a:gridCol w="1015068">
                  <a:extLst>
                    <a:ext uri="{9D8B030D-6E8A-4147-A177-3AD203B41FA5}">
                      <a16:colId xmlns:a16="http://schemas.microsoft.com/office/drawing/2014/main" xmlns="" val="21404380"/>
                    </a:ext>
                  </a:extLst>
                </a:gridCol>
                <a:gridCol w="981512">
                  <a:extLst>
                    <a:ext uri="{9D8B030D-6E8A-4147-A177-3AD203B41FA5}">
                      <a16:colId xmlns:a16="http://schemas.microsoft.com/office/drawing/2014/main" xmlns="" val="1550013277"/>
                    </a:ext>
                  </a:extLst>
                </a:gridCol>
                <a:gridCol w="704675">
                  <a:extLst>
                    <a:ext uri="{9D8B030D-6E8A-4147-A177-3AD203B41FA5}">
                      <a16:colId xmlns:a16="http://schemas.microsoft.com/office/drawing/2014/main" xmlns="" val="2156926650"/>
                    </a:ext>
                  </a:extLst>
                </a:gridCol>
              </a:tblGrid>
              <a:tr h="439233">
                <a:tc>
                  <a:txBody>
                    <a:bodyPr/>
                    <a:lstStyle/>
                    <a:p>
                      <a:pPr algn="ctr" fontAlgn="ctr"/>
                      <a:r>
                        <a:rPr lang="vi-VN" sz="1300" u="none" strike="noStrike">
                          <a:effectLst/>
                          <a:latin typeface="+mj-lt"/>
                        </a:rPr>
                        <a:t>TT</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Chủ đầu tư</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Kế hoạch vốn năm 2023</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Giải ngân 04/5/2023</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Tỷ lệ </a:t>
                      </a:r>
                      <a:br>
                        <a:rPr lang="vi-VN" sz="1300" u="none" strike="noStrike">
                          <a:effectLst/>
                          <a:latin typeface="+mj-lt"/>
                        </a:rPr>
                      </a:br>
                      <a:r>
                        <a:rPr lang="vi-VN" sz="1300" u="none" strike="noStrike">
                          <a:effectLst/>
                          <a:latin typeface="+mj-lt"/>
                        </a:rPr>
                        <a:t>(%)</a:t>
                      </a:r>
                      <a:endParaRPr lang="vi-VN" sz="13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248485068"/>
                  </a:ext>
                </a:extLst>
              </a:tr>
              <a:tr h="146411">
                <a:tc>
                  <a:txBody>
                    <a:bodyPr/>
                    <a:lstStyle/>
                    <a:p>
                      <a:pPr algn="ctr" fontAlgn="ctr"/>
                      <a:r>
                        <a:rPr lang="vi-VN" sz="1300" b="1" u="none" strike="noStrike" dirty="0">
                          <a:effectLst/>
                          <a:latin typeface="+mj-lt"/>
                        </a:rPr>
                        <a:t> </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b="1" u="none" strike="noStrike" dirty="0">
                          <a:effectLst/>
                          <a:latin typeface="+mj-lt"/>
                        </a:rPr>
                        <a:t>TỔNG CỘNG</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6.503.730,51</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1.704.301,74</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a:effectLst/>
                          <a:latin typeface="+mj-lt"/>
                        </a:rPr>
                        <a:t>26,20</a:t>
                      </a:r>
                      <a:endParaRPr lang="vi-VN" sz="13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58831171"/>
                  </a:ext>
                </a:extLst>
              </a:tr>
              <a:tr h="146411">
                <a:tc>
                  <a:txBody>
                    <a:bodyPr/>
                    <a:lstStyle/>
                    <a:p>
                      <a:pPr algn="ctr" fontAlgn="ctr"/>
                      <a:r>
                        <a:rPr lang="vi-VN" sz="1300" b="1" u="none" strike="noStrike">
                          <a:effectLst/>
                          <a:latin typeface="+mj-lt"/>
                        </a:rPr>
                        <a:t>I</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b="1" u="none" strike="noStrike" dirty="0">
                          <a:effectLst/>
                          <a:latin typeface="+mj-lt"/>
                        </a:rPr>
                        <a:t>Bố trí cho các đơn vị thực hiện</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a:effectLst/>
                          <a:latin typeface="+mj-lt"/>
                        </a:rPr>
                        <a:t>5.379.148,61</a:t>
                      </a:r>
                      <a:endParaRPr lang="vi-VN" sz="1300" b="1" i="0" u="none" strike="noStrike">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1.297.015,94</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24,11</a:t>
                      </a:r>
                      <a:endParaRPr lang="vi-VN" sz="1300" b="1"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3984590001"/>
                  </a:ext>
                </a:extLst>
              </a:tr>
              <a:tr h="146411">
                <a:tc>
                  <a:txBody>
                    <a:bodyPr/>
                    <a:lstStyle/>
                    <a:p>
                      <a:pPr algn="ctr" fontAlgn="ctr"/>
                      <a:r>
                        <a:rPr lang="vi-VN" sz="1300" u="none" strike="noStrike">
                          <a:effectLst/>
                          <a:latin typeface="+mj-lt"/>
                        </a:rPr>
                        <a:t>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ài chí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4.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4.00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119453877"/>
                  </a:ext>
                </a:extLst>
              </a:tr>
              <a:tr h="199119">
                <a:tc>
                  <a:txBody>
                    <a:bodyPr/>
                    <a:lstStyle/>
                    <a:p>
                      <a:pPr algn="ctr" fontAlgn="ctr"/>
                      <a:r>
                        <a:rPr lang="vi-VN" sz="1300" u="none" strike="noStrike">
                          <a:effectLst/>
                          <a:latin typeface="+mj-lt"/>
                        </a:rPr>
                        <a:t>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ư pháp</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956,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8,5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994768721"/>
                  </a:ext>
                </a:extLst>
              </a:tr>
              <a:tr h="146411">
                <a:tc>
                  <a:txBody>
                    <a:bodyPr/>
                    <a:lstStyle/>
                    <a:p>
                      <a:pPr algn="ctr" fontAlgn="ctr"/>
                      <a:r>
                        <a:rPr lang="vi-VN" sz="1300" u="none" strike="noStrike">
                          <a:effectLst/>
                          <a:latin typeface="+mj-lt"/>
                        </a:rPr>
                        <a:t>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Đài PTTH Bình Đị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5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50,9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4,04</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287670515"/>
                  </a:ext>
                </a:extLst>
              </a:tr>
              <a:tr h="146411">
                <a:tc>
                  <a:txBody>
                    <a:bodyPr/>
                    <a:lstStyle/>
                    <a:p>
                      <a:pPr algn="ctr" fontAlgn="ctr"/>
                      <a:r>
                        <a:rPr lang="vi-VN" sz="1300" u="none" strike="noStrike">
                          <a:effectLst/>
                          <a:latin typeface="+mj-lt"/>
                        </a:rPr>
                        <a:t>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CH QS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9.769</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6.26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dirty="0">
                          <a:effectLst/>
                          <a:latin typeface="+mj-lt"/>
                        </a:rPr>
                        <a:t>72,87</a:t>
                      </a:r>
                      <a:endParaRPr lang="vi-VN" sz="13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2909592036"/>
                  </a:ext>
                </a:extLst>
              </a:tr>
              <a:tr h="146411">
                <a:tc>
                  <a:txBody>
                    <a:bodyPr/>
                    <a:lstStyle/>
                    <a:p>
                      <a:pPr algn="ctr" fontAlgn="ctr"/>
                      <a:r>
                        <a:rPr lang="vi-VN" sz="1300" u="none" strike="noStrike">
                          <a:effectLst/>
                          <a:latin typeface="+mj-lt"/>
                        </a:rPr>
                        <a:t>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ỉnh đoà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3</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7,6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4,3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545867143"/>
                  </a:ext>
                </a:extLst>
              </a:tr>
              <a:tr h="146411">
                <a:tc>
                  <a:txBody>
                    <a:bodyPr/>
                    <a:lstStyle/>
                    <a:p>
                      <a:pPr algn="ctr" fontAlgn="ctr"/>
                      <a:r>
                        <a:rPr lang="vi-VN" sz="1300" u="none" strike="noStrike">
                          <a:effectLst/>
                          <a:latin typeface="+mj-lt"/>
                        </a:rPr>
                        <a:t>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QL KK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6.985</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6.228,8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4,0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511006037"/>
                  </a:ext>
                </a:extLst>
              </a:tr>
              <a:tr h="146411">
                <a:tc>
                  <a:txBody>
                    <a:bodyPr/>
                    <a:lstStyle/>
                    <a:p>
                      <a:pPr algn="ctr" fontAlgn="ctr"/>
                      <a:r>
                        <a:rPr lang="vi-VN" sz="1300" u="none" strike="noStrike">
                          <a:effectLst/>
                          <a:latin typeface="+mj-lt"/>
                        </a:rPr>
                        <a:t>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thị xã Hoài Nh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6.385,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151,2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3,4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31209966"/>
                  </a:ext>
                </a:extLst>
              </a:tr>
              <a:tr h="199119">
                <a:tc>
                  <a:txBody>
                    <a:bodyPr/>
                    <a:lstStyle/>
                    <a:p>
                      <a:pPr algn="ctr" fontAlgn="ctr"/>
                      <a:r>
                        <a:rPr lang="vi-VN" sz="1300" u="none" strike="noStrike">
                          <a:effectLst/>
                          <a:latin typeface="+mj-lt"/>
                        </a:rPr>
                        <a:t>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thị xã An Nh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1.39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2.713,0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2,48</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39188623"/>
                  </a:ext>
                </a:extLst>
              </a:tr>
              <a:tr h="146411">
                <a:tc>
                  <a:txBody>
                    <a:bodyPr/>
                    <a:lstStyle/>
                    <a:p>
                      <a:pPr algn="ctr" fontAlgn="ctr"/>
                      <a:r>
                        <a:rPr lang="vi-VN" sz="1300" u="none" strike="noStrike">
                          <a:effectLst/>
                          <a:latin typeface="+mj-lt"/>
                        </a:rPr>
                        <a:t>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rường CĐ Y tế</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6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dirty="0">
                          <a:effectLst/>
                          <a:latin typeface="+mj-lt"/>
                        </a:rPr>
                        <a:t>4.840,98</a:t>
                      </a:r>
                      <a:endParaRPr lang="vi-VN" sz="1300" b="0" i="0" u="none" strike="noStrike" dirty="0">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0,4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889309582"/>
                  </a:ext>
                </a:extLst>
              </a:tr>
              <a:tr h="146411">
                <a:tc>
                  <a:txBody>
                    <a:bodyPr/>
                    <a:lstStyle/>
                    <a:p>
                      <a:pPr algn="ctr" fontAlgn="ctr"/>
                      <a:r>
                        <a:rPr lang="vi-VN" sz="1300" u="none" strike="noStrike">
                          <a:effectLst/>
                          <a:latin typeface="+mj-lt"/>
                        </a:rPr>
                        <a:t>1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KH&amp;Đ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51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3,4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199950516"/>
                  </a:ext>
                </a:extLst>
              </a:tr>
              <a:tr h="146411">
                <a:tc>
                  <a:txBody>
                    <a:bodyPr/>
                    <a:lstStyle/>
                    <a:p>
                      <a:pPr algn="ctr" fontAlgn="ctr"/>
                      <a:r>
                        <a:rPr lang="vi-VN" sz="1300" u="none" strike="noStrike">
                          <a:effectLst/>
                          <a:latin typeface="+mj-lt"/>
                        </a:rPr>
                        <a:t>1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CH BĐ Biên phòng</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04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74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3,1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080945540"/>
                  </a:ext>
                </a:extLst>
              </a:tr>
              <a:tr h="146411">
                <a:tc>
                  <a:txBody>
                    <a:bodyPr/>
                    <a:lstStyle/>
                    <a:p>
                      <a:pPr algn="ctr" fontAlgn="ctr"/>
                      <a:r>
                        <a:rPr lang="vi-VN" sz="1300" u="none" strike="noStrike">
                          <a:effectLst/>
                          <a:latin typeface="+mj-lt"/>
                        </a:rPr>
                        <a:t>1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Phù Mỹ</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5.10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60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1,25</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846383283"/>
                  </a:ext>
                </a:extLst>
              </a:tr>
              <a:tr h="146411">
                <a:tc>
                  <a:txBody>
                    <a:bodyPr/>
                    <a:lstStyle/>
                    <a:p>
                      <a:pPr algn="ctr" fontAlgn="ctr"/>
                      <a:r>
                        <a:rPr lang="vi-VN" sz="1300" u="none" strike="noStrike">
                          <a:effectLst/>
                          <a:latin typeface="+mj-lt"/>
                        </a:rPr>
                        <a:t>1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Hoài Â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3.344,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873,7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1,01</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590591948"/>
                  </a:ext>
                </a:extLst>
              </a:tr>
              <a:tr h="146411">
                <a:tc>
                  <a:txBody>
                    <a:bodyPr/>
                    <a:lstStyle/>
                    <a:p>
                      <a:pPr algn="ctr" fontAlgn="ctr"/>
                      <a:r>
                        <a:rPr lang="vi-VN" sz="1300" u="none" strike="noStrike">
                          <a:effectLst/>
                          <a:latin typeface="+mj-lt"/>
                        </a:rPr>
                        <a:t>1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KH&amp;C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68,8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2,3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079810481"/>
                  </a:ext>
                </a:extLst>
              </a:tr>
              <a:tr h="146411">
                <a:tc>
                  <a:txBody>
                    <a:bodyPr/>
                    <a:lstStyle/>
                    <a:p>
                      <a:pPr algn="ctr" fontAlgn="ctr"/>
                      <a:r>
                        <a:rPr lang="vi-VN" sz="1300" u="none" strike="noStrike">
                          <a:effectLst/>
                          <a:latin typeface="+mj-lt"/>
                        </a:rPr>
                        <a:t>1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TP Quy Nh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68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68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84</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07789939"/>
                  </a:ext>
                </a:extLst>
              </a:tr>
              <a:tr h="146411">
                <a:tc>
                  <a:txBody>
                    <a:bodyPr/>
                    <a:lstStyle/>
                    <a:p>
                      <a:pPr algn="ctr" fontAlgn="ctr"/>
                      <a:r>
                        <a:rPr lang="vi-VN" sz="1300" u="none" strike="noStrike">
                          <a:effectLst/>
                          <a:latin typeface="+mj-lt"/>
                        </a:rPr>
                        <a:t>1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QLDA NN&amp;PTN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44.33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14.836,7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15</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362272769"/>
                  </a:ext>
                </a:extLst>
              </a:tr>
              <a:tr h="146411">
                <a:tc>
                  <a:txBody>
                    <a:bodyPr/>
                    <a:lstStyle/>
                    <a:p>
                      <a:pPr algn="ctr" fontAlgn="ctr"/>
                      <a:r>
                        <a:rPr lang="vi-VN" sz="1300" u="none" strike="noStrike">
                          <a:effectLst/>
                          <a:latin typeface="+mj-lt"/>
                        </a:rPr>
                        <a:t>1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NN&amp;PTN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5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8,5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157460315"/>
                  </a:ext>
                </a:extLst>
              </a:tr>
              <a:tr h="146411">
                <a:tc>
                  <a:txBody>
                    <a:bodyPr/>
                    <a:lstStyle/>
                    <a:p>
                      <a:pPr algn="ctr" fontAlgn="ctr"/>
                      <a:r>
                        <a:rPr lang="vi-VN" sz="1300" u="none" strike="noStrike">
                          <a:effectLst/>
                          <a:latin typeface="+mj-lt"/>
                        </a:rPr>
                        <a:t>1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T Phát triển Quỹ đấ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14.48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0.487,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6,6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732336375"/>
                  </a:ext>
                </a:extLst>
              </a:tr>
              <a:tr h="146411">
                <a:tc>
                  <a:txBody>
                    <a:bodyPr/>
                    <a:lstStyle/>
                    <a:p>
                      <a:pPr algn="ctr" fontAlgn="ctr"/>
                      <a:r>
                        <a:rPr lang="vi-VN" sz="1300" u="none" strike="noStrike">
                          <a:effectLst/>
                          <a:latin typeface="+mj-lt"/>
                        </a:rPr>
                        <a:t>1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An Lão</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7.067,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885,2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9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157324538"/>
                  </a:ext>
                </a:extLst>
              </a:tr>
              <a:tr h="146411">
                <a:tc>
                  <a:txBody>
                    <a:bodyPr/>
                    <a:lstStyle/>
                    <a:p>
                      <a:pPr algn="ctr" fontAlgn="ctr"/>
                      <a:r>
                        <a:rPr lang="vi-VN" sz="1300" u="none" strike="noStrike">
                          <a:effectLst/>
                          <a:latin typeface="+mj-lt"/>
                        </a:rPr>
                        <a:t>2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VĐK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4.95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403,7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66</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509877540"/>
                  </a:ext>
                </a:extLst>
              </a:tr>
              <a:tr h="146411">
                <a:tc>
                  <a:txBody>
                    <a:bodyPr/>
                    <a:lstStyle/>
                    <a:p>
                      <a:pPr algn="ctr" fontAlgn="ctr"/>
                      <a:r>
                        <a:rPr lang="vi-VN" sz="1300" u="none" strike="noStrike">
                          <a:effectLst/>
                          <a:latin typeface="+mj-lt"/>
                        </a:rPr>
                        <a:t>2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QLDA Giao thông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39.95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88.267,0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0,8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771187859"/>
                  </a:ext>
                </a:extLst>
              </a:tr>
              <a:tr h="146411">
                <a:tc>
                  <a:txBody>
                    <a:bodyPr/>
                    <a:lstStyle/>
                    <a:p>
                      <a:pPr algn="ctr" fontAlgn="ctr"/>
                      <a:r>
                        <a:rPr lang="vi-VN" sz="1300" u="none" strike="noStrike">
                          <a:effectLst/>
                          <a:latin typeface="+mj-lt"/>
                        </a:rPr>
                        <a:t>2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Vĩnh Thạ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5.566,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816,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84</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887424561"/>
                  </a:ext>
                </a:extLst>
              </a:tr>
              <a:tr h="146411">
                <a:tc>
                  <a:txBody>
                    <a:bodyPr/>
                    <a:lstStyle/>
                    <a:p>
                      <a:pPr algn="ctr" fontAlgn="ctr"/>
                      <a:r>
                        <a:rPr lang="vi-VN" sz="1300" u="none" strike="noStrike">
                          <a:effectLst/>
                          <a:latin typeface="+mj-lt"/>
                        </a:rPr>
                        <a:t>2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Phù Cá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3.351,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201,33</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8,5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038650880"/>
                  </a:ext>
                </a:extLst>
              </a:tr>
              <a:tr h="146411">
                <a:tc>
                  <a:txBody>
                    <a:bodyPr/>
                    <a:lstStyle/>
                    <a:p>
                      <a:pPr algn="ctr" fontAlgn="ctr"/>
                      <a:r>
                        <a:rPr lang="vi-VN" sz="1300" u="none" strike="noStrike">
                          <a:effectLst/>
                          <a:latin typeface="+mj-lt"/>
                        </a:rPr>
                        <a:t>2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GTV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28.56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055,3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dirty="0">
                          <a:effectLst/>
                          <a:latin typeface="+mj-lt"/>
                        </a:rPr>
                        <a:t>16,38</a:t>
                      </a:r>
                      <a:endParaRPr lang="vi-VN" sz="13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1435865471"/>
                  </a:ext>
                </a:extLst>
              </a:tr>
            </a:tbl>
          </a:graphicData>
        </a:graphic>
      </p:graphicFrame>
      <p:graphicFrame>
        <p:nvGraphicFramePr>
          <p:cNvPr id="8" name="Table 7">
            <a:extLst>
              <a:ext uri="{FF2B5EF4-FFF2-40B4-BE49-F238E27FC236}">
                <a16:creationId xmlns:a16="http://schemas.microsoft.com/office/drawing/2014/main" xmlns="" id="{AC572DE6-7CD2-86A1-0E7B-2ACABB38B05D}"/>
              </a:ext>
            </a:extLst>
          </p:cNvPr>
          <p:cNvGraphicFramePr>
            <a:graphicFrameLocks noGrp="1"/>
          </p:cNvGraphicFramePr>
          <p:nvPr/>
        </p:nvGraphicFramePr>
        <p:xfrm>
          <a:off x="5780495" y="953167"/>
          <a:ext cx="5603366" cy="5238362"/>
        </p:xfrm>
        <a:graphic>
          <a:graphicData uri="http://schemas.openxmlformats.org/drawingml/2006/table">
            <a:tbl>
              <a:tblPr firstRow="1">
                <a:tableStyleId>{FABFCF23-3B69-468F-B69F-88F6DE6A72F2}</a:tableStyleId>
              </a:tblPr>
              <a:tblGrid>
                <a:gridCol w="462017">
                  <a:extLst>
                    <a:ext uri="{9D8B030D-6E8A-4147-A177-3AD203B41FA5}">
                      <a16:colId xmlns:a16="http://schemas.microsoft.com/office/drawing/2014/main" xmlns="" val="961991113"/>
                    </a:ext>
                  </a:extLst>
                </a:gridCol>
                <a:gridCol w="2356203">
                  <a:extLst>
                    <a:ext uri="{9D8B030D-6E8A-4147-A177-3AD203B41FA5}">
                      <a16:colId xmlns:a16="http://schemas.microsoft.com/office/drawing/2014/main" xmlns="" val="2723036292"/>
                    </a:ext>
                  </a:extLst>
                </a:gridCol>
                <a:gridCol w="964734">
                  <a:extLst>
                    <a:ext uri="{9D8B030D-6E8A-4147-A177-3AD203B41FA5}">
                      <a16:colId xmlns:a16="http://schemas.microsoft.com/office/drawing/2014/main" xmlns="" val="3386775824"/>
                    </a:ext>
                  </a:extLst>
                </a:gridCol>
                <a:gridCol w="947956">
                  <a:extLst>
                    <a:ext uri="{9D8B030D-6E8A-4147-A177-3AD203B41FA5}">
                      <a16:colId xmlns:a16="http://schemas.microsoft.com/office/drawing/2014/main" xmlns="" val="3536128897"/>
                    </a:ext>
                  </a:extLst>
                </a:gridCol>
                <a:gridCol w="872456">
                  <a:extLst>
                    <a:ext uri="{9D8B030D-6E8A-4147-A177-3AD203B41FA5}">
                      <a16:colId xmlns:a16="http://schemas.microsoft.com/office/drawing/2014/main" xmlns="" val="2649472646"/>
                    </a:ext>
                  </a:extLst>
                </a:gridCol>
              </a:tblGrid>
              <a:tr h="483482">
                <a:tc>
                  <a:txBody>
                    <a:bodyPr/>
                    <a:lstStyle/>
                    <a:p>
                      <a:pPr algn="ctr" fontAlgn="ctr"/>
                      <a:r>
                        <a:rPr lang="vi-VN" sz="1300" u="none" strike="noStrike">
                          <a:effectLst/>
                          <a:latin typeface="+mj-lt"/>
                        </a:rPr>
                        <a:t>TT</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Chủ đầu tư</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Kế hoạch vốn năm 2023</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Giải ngân 04/5/2023</a:t>
                      </a:r>
                      <a:endParaRPr lang="vi-VN" sz="1300" b="1" i="0" u="none" strike="noStrike">
                        <a:solidFill>
                          <a:srgbClr val="000000"/>
                        </a:solidFill>
                        <a:effectLst/>
                        <a:latin typeface="+mj-lt"/>
                      </a:endParaRPr>
                    </a:p>
                  </a:txBody>
                  <a:tcPr marL="0" marR="0" marT="0" marB="0" anchor="ctr"/>
                </a:tc>
                <a:tc>
                  <a:txBody>
                    <a:bodyPr/>
                    <a:lstStyle/>
                    <a:p>
                      <a:pPr algn="ctr" fontAlgn="ctr"/>
                      <a:r>
                        <a:rPr lang="vi-VN" sz="1300" u="none" strike="noStrike">
                          <a:effectLst/>
                          <a:latin typeface="+mj-lt"/>
                        </a:rPr>
                        <a:t>Tỷ lệ </a:t>
                      </a:r>
                      <a:br>
                        <a:rPr lang="vi-VN" sz="1300" u="none" strike="noStrike">
                          <a:effectLst/>
                          <a:latin typeface="+mj-lt"/>
                        </a:rPr>
                      </a:br>
                      <a:r>
                        <a:rPr lang="vi-VN" sz="1300" u="none" strike="noStrike">
                          <a:effectLst/>
                          <a:latin typeface="+mj-lt"/>
                        </a:rPr>
                        <a:t>(%)</a:t>
                      </a:r>
                      <a:endParaRPr lang="vi-VN" sz="13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481087806"/>
                  </a:ext>
                </a:extLst>
              </a:tr>
              <a:tr h="161161">
                <a:tc>
                  <a:txBody>
                    <a:bodyPr/>
                    <a:lstStyle/>
                    <a:p>
                      <a:pPr algn="ctr" fontAlgn="ctr"/>
                      <a:r>
                        <a:rPr lang="vi-VN" sz="1300" u="none" strike="noStrike">
                          <a:effectLst/>
                          <a:latin typeface="+mj-lt"/>
                        </a:rPr>
                        <a:t>2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GPMB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71.91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3.372,5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95</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205813516"/>
                  </a:ext>
                </a:extLst>
              </a:tr>
              <a:tr h="161161">
                <a:tc>
                  <a:txBody>
                    <a:bodyPr/>
                    <a:lstStyle/>
                    <a:p>
                      <a:pPr algn="ctr" fontAlgn="ctr"/>
                      <a:r>
                        <a:rPr lang="vi-VN" sz="1300" u="none" strike="noStrike">
                          <a:effectLst/>
                          <a:latin typeface="+mj-lt"/>
                        </a:rPr>
                        <a:t>2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Y tế</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8.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748,2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5,13</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902846990"/>
                  </a:ext>
                </a:extLst>
              </a:tr>
              <a:tr h="161161">
                <a:tc>
                  <a:txBody>
                    <a:bodyPr/>
                    <a:lstStyle/>
                    <a:p>
                      <a:pPr algn="ctr" fontAlgn="ctr"/>
                      <a:r>
                        <a:rPr lang="vi-VN" sz="1300" u="none" strike="noStrike">
                          <a:effectLst/>
                          <a:latin typeface="+mj-lt"/>
                        </a:rPr>
                        <a:t>2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Ban QLDA XD DD&amp;C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12.75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9.984,74</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3,65</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77286983"/>
                  </a:ext>
                </a:extLst>
              </a:tr>
              <a:tr h="161161">
                <a:tc>
                  <a:txBody>
                    <a:bodyPr/>
                    <a:lstStyle/>
                    <a:p>
                      <a:pPr algn="ctr" fontAlgn="ctr"/>
                      <a:r>
                        <a:rPr lang="vi-VN" sz="1300" u="none" strike="noStrike">
                          <a:effectLst/>
                          <a:latin typeface="+mj-lt"/>
                        </a:rPr>
                        <a:t>2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Tuy Phước</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9.30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185,3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0,87</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109068724"/>
                  </a:ext>
                </a:extLst>
              </a:tr>
              <a:tr h="161161">
                <a:tc>
                  <a:txBody>
                    <a:bodyPr/>
                    <a:lstStyle/>
                    <a:p>
                      <a:pPr algn="ctr" fontAlgn="ctr"/>
                      <a:r>
                        <a:rPr lang="vi-VN" sz="1300" u="none" strike="noStrike">
                          <a:effectLst/>
                          <a:latin typeface="+mj-lt"/>
                        </a:rPr>
                        <a:t>2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Tây Sơ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9.942,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906,65</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89</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557120986"/>
                  </a:ext>
                </a:extLst>
              </a:tr>
              <a:tr h="161161">
                <a:tc>
                  <a:txBody>
                    <a:bodyPr/>
                    <a:lstStyle/>
                    <a:p>
                      <a:pPr algn="ctr" fontAlgn="ctr"/>
                      <a:r>
                        <a:rPr lang="vi-VN" sz="1300" u="none" strike="noStrike">
                          <a:effectLst/>
                          <a:latin typeface="+mj-lt"/>
                        </a:rPr>
                        <a:t>3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UBND huyện Vân Ca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7.72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1.687,11</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52</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714922760"/>
                  </a:ext>
                </a:extLst>
              </a:tr>
              <a:tr h="161161">
                <a:tc>
                  <a:txBody>
                    <a:bodyPr/>
                    <a:lstStyle/>
                    <a:p>
                      <a:pPr algn="ctr" fontAlgn="ctr"/>
                      <a:r>
                        <a:rPr lang="vi-VN" sz="1300" u="none" strike="noStrike">
                          <a:effectLst/>
                          <a:latin typeface="+mj-lt"/>
                        </a:rPr>
                        <a:t>3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GD&amp;Đ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2.196</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5.096,17</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9,76</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42237961"/>
                  </a:ext>
                </a:extLst>
              </a:tr>
              <a:tr h="161161">
                <a:tc>
                  <a:txBody>
                    <a:bodyPr/>
                    <a:lstStyle/>
                    <a:p>
                      <a:pPr algn="ctr" fontAlgn="ctr"/>
                      <a:r>
                        <a:rPr lang="vi-VN" sz="1300" u="none" strike="noStrike">
                          <a:effectLst/>
                          <a:latin typeface="+mj-lt"/>
                        </a:rPr>
                        <a:t>3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LĐ, TB, X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56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13,4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11</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60276359"/>
                  </a:ext>
                </a:extLst>
              </a:tr>
              <a:tr h="161161">
                <a:tc>
                  <a:txBody>
                    <a:bodyPr/>
                    <a:lstStyle/>
                    <a:p>
                      <a:pPr algn="ctr" fontAlgn="ctr"/>
                      <a:r>
                        <a:rPr lang="vi-VN" sz="1300" u="none" strike="noStrike">
                          <a:effectLst/>
                          <a:latin typeface="+mj-lt"/>
                        </a:rPr>
                        <a:t>3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T NS và VSMT nông thôn</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5.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643,9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8,1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915792521"/>
                  </a:ext>
                </a:extLst>
              </a:tr>
              <a:tr h="161161">
                <a:tc>
                  <a:txBody>
                    <a:bodyPr/>
                    <a:lstStyle/>
                    <a:p>
                      <a:pPr algn="ctr" fontAlgn="ctr"/>
                      <a:r>
                        <a:rPr lang="vi-VN" sz="1300" u="none" strike="noStrike">
                          <a:effectLst/>
                          <a:latin typeface="+mj-lt"/>
                        </a:rPr>
                        <a:t>3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Công an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0.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736666551"/>
                  </a:ext>
                </a:extLst>
              </a:tr>
              <a:tr h="161161">
                <a:tc>
                  <a:txBody>
                    <a:bodyPr/>
                    <a:lstStyle/>
                    <a:p>
                      <a:pPr algn="ctr" fontAlgn="ctr"/>
                      <a:r>
                        <a:rPr lang="vi-VN" sz="1300" u="none" strike="noStrike">
                          <a:effectLst/>
                          <a:latin typeface="+mj-lt"/>
                        </a:rPr>
                        <a:t>35</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Liên minh HTX</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927736781"/>
                  </a:ext>
                </a:extLst>
              </a:tr>
              <a:tr h="161161">
                <a:tc>
                  <a:txBody>
                    <a:bodyPr/>
                    <a:lstStyle/>
                    <a:p>
                      <a:pPr algn="ctr" fontAlgn="ctr"/>
                      <a:r>
                        <a:rPr lang="vi-VN" sz="1300" u="none" strike="noStrike">
                          <a:effectLst/>
                          <a:latin typeface="+mj-lt"/>
                        </a:rPr>
                        <a:t>36</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Công Thương</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5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087949530"/>
                  </a:ext>
                </a:extLst>
              </a:tr>
              <a:tr h="161161">
                <a:tc>
                  <a:txBody>
                    <a:bodyPr/>
                    <a:lstStyle/>
                    <a:p>
                      <a:pPr algn="ctr" fontAlgn="ctr"/>
                      <a:r>
                        <a:rPr lang="vi-VN" sz="1300" u="none" strike="noStrike">
                          <a:effectLst/>
                          <a:latin typeface="+mj-lt"/>
                        </a:rPr>
                        <a:t>37</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Nội vụ</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3.8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83084987"/>
                  </a:ext>
                </a:extLst>
              </a:tr>
              <a:tr h="161161">
                <a:tc>
                  <a:txBody>
                    <a:bodyPr/>
                    <a:lstStyle/>
                    <a:p>
                      <a:pPr algn="ctr" fontAlgn="ctr"/>
                      <a:r>
                        <a:rPr lang="vi-VN" sz="1300" u="none" strike="noStrike">
                          <a:effectLst/>
                          <a:latin typeface="+mj-lt"/>
                        </a:rPr>
                        <a:t>38</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N&amp;M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7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875488320"/>
                  </a:ext>
                </a:extLst>
              </a:tr>
              <a:tr h="161161">
                <a:tc>
                  <a:txBody>
                    <a:bodyPr/>
                    <a:lstStyle/>
                    <a:p>
                      <a:pPr algn="ctr" fontAlgn="ctr"/>
                      <a:r>
                        <a:rPr lang="vi-VN" sz="1300" u="none" strike="noStrike">
                          <a:effectLst/>
                          <a:latin typeface="+mj-lt"/>
                        </a:rPr>
                        <a:t>39</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Thông tin và Truyền thông</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5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54169907"/>
                  </a:ext>
                </a:extLst>
              </a:tr>
              <a:tr h="161161">
                <a:tc>
                  <a:txBody>
                    <a:bodyPr/>
                    <a:lstStyle/>
                    <a:p>
                      <a:pPr algn="ctr" fontAlgn="ctr"/>
                      <a:r>
                        <a:rPr lang="vi-VN" sz="1300" u="none" strike="noStrike">
                          <a:effectLst/>
                          <a:latin typeface="+mj-lt"/>
                        </a:rPr>
                        <a:t>40</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Sở VH&amp;TT</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162</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1344739467"/>
                  </a:ext>
                </a:extLst>
              </a:tr>
              <a:tr h="161161">
                <a:tc>
                  <a:txBody>
                    <a:bodyPr/>
                    <a:lstStyle/>
                    <a:p>
                      <a:pPr algn="ctr" fontAlgn="ctr"/>
                      <a:r>
                        <a:rPr lang="vi-VN" sz="1300" u="none" strike="noStrike">
                          <a:effectLst/>
                          <a:latin typeface="+mj-lt"/>
                        </a:rPr>
                        <a:t>41</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Trường Chính trị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6.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653046625"/>
                  </a:ext>
                </a:extLst>
              </a:tr>
              <a:tr h="161161">
                <a:tc>
                  <a:txBody>
                    <a:bodyPr/>
                    <a:lstStyle/>
                    <a:p>
                      <a:pPr algn="ctr" fontAlgn="ctr"/>
                      <a:r>
                        <a:rPr lang="vi-VN" sz="1300" u="none" strike="noStrike">
                          <a:effectLst/>
                          <a:latin typeface="+mj-lt"/>
                        </a:rPr>
                        <a:t>42</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VP Đoàn ĐBQH và HĐND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7.9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643690589"/>
                  </a:ext>
                </a:extLst>
              </a:tr>
              <a:tr h="161161">
                <a:tc>
                  <a:txBody>
                    <a:bodyPr/>
                    <a:lstStyle/>
                    <a:p>
                      <a:pPr algn="ctr" fontAlgn="ctr"/>
                      <a:r>
                        <a:rPr lang="vi-VN" sz="1300" u="none" strike="noStrike">
                          <a:effectLst/>
                          <a:latin typeface="+mj-lt"/>
                        </a:rPr>
                        <a:t>43</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VP Tỉnh ủy</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23.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76559689"/>
                  </a:ext>
                </a:extLst>
              </a:tr>
              <a:tr h="161161">
                <a:tc>
                  <a:txBody>
                    <a:bodyPr/>
                    <a:lstStyle/>
                    <a:p>
                      <a:pPr algn="ctr" fontAlgn="ctr"/>
                      <a:r>
                        <a:rPr lang="vi-VN" sz="1300" u="none" strike="noStrike">
                          <a:effectLst/>
                          <a:latin typeface="+mj-lt"/>
                        </a:rPr>
                        <a:t>44</a:t>
                      </a:r>
                      <a:endParaRPr lang="vi-VN" sz="1300" b="0" i="0" u="none" strike="noStrike">
                        <a:solidFill>
                          <a:srgbClr val="000000"/>
                        </a:solidFill>
                        <a:effectLst/>
                        <a:latin typeface="+mj-lt"/>
                      </a:endParaRPr>
                    </a:p>
                  </a:txBody>
                  <a:tcPr marL="0" marR="0" marT="0" marB="0" anchor="ctr"/>
                </a:tc>
                <a:tc>
                  <a:txBody>
                    <a:bodyPr/>
                    <a:lstStyle/>
                    <a:p>
                      <a:pPr algn="l" fontAlgn="ctr"/>
                      <a:r>
                        <a:rPr lang="vi-VN" sz="1300" u="none" strike="noStrike">
                          <a:effectLst/>
                          <a:latin typeface="+mj-lt"/>
                        </a:rPr>
                        <a:t>VP UBND tỉnh</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4.488</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tc>
                  <a:txBody>
                    <a:bodyPr/>
                    <a:lstStyle/>
                    <a:p>
                      <a:pPr algn="r" fontAlgn="ctr"/>
                      <a:r>
                        <a:rPr lang="vi-VN" sz="1300" u="none" strike="noStrike">
                          <a:effectLst/>
                          <a:latin typeface="+mj-lt"/>
                        </a:rPr>
                        <a:t>0,00</a:t>
                      </a:r>
                      <a:endParaRPr lang="vi-VN" sz="13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77575965"/>
                  </a:ext>
                </a:extLst>
              </a:tr>
              <a:tr h="644643">
                <a:tc>
                  <a:txBody>
                    <a:bodyPr/>
                    <a:lstStyle/>
                    <a:p>
                      <a:pPr algn="ctr" fontAlgn="ctr"/>
                      <a:r>
                        <a:rPr lang="vi-VN" sz="1300" b="1" u="none" strike="noStrike" dirty="0">
                          <a:effectLst/>
                          <a:latin typeface="+mj-lt"/>
                        </a:rPr>
                        <a:t>II</a:t>
                      </a:r>
                      <a:endParaRPr lang="vi-VN" sz="1300" b="1" i="0" u="none" strike="noStrike" dirty="0">
                        <a:solidFill>
                          <a:srgbClr val="000000"/>
                        </a:solidFill>
                        <a:effectLst/>
                        <a:latin typeface="+mj-lt"/>
                      </a:endParaRPr>
                    </a:p>
                  </a:txBody>
                  <a:tcPr marL="0" marR="0" marT="0" marB="0" anchor="ctr"/>
                </a:tc>
                <a:tc>
                  <a:txBody>
                    <a:bodyPr/>
                    <a:lstStyle/>
                    <a:p>
                      <a:pPr algn="ctr" fontAlgn="ctr"/>
                      <a:r>
                        <a:rPr lang="vi-VN" sz="1300" b="1" u="none" strike="noStrike" dirty="0">
                          <a:effectLst/>
                          <a:latin typeface="+mj-lt"/>
                        </a:rPr>
                        <a:t>Các khoản thu hồi ứng trước NSTW, trả nợ vay ngân sách và các nhiệm vụ khác chờ phân bổ chi tiết</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a:effectLst/>
                          <a:latin typeface="+mj-lt"/>
                        </a:rPr>
                        <a:t>1.124.581,90</a:t>
                      </a:r>
                      <a:endParaRPr lang="vi-VN" sz="1300" b="1" i="0" u="none" strike="noStrike">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407.285,81</a:t>
                      </a:r>
                      <a:endParaRPr lang="vi-VN" sz="1300" b="1" i="0" u="none" strike="noStrike" dirty="0">
                        <a:solidFill>
                          <a:srgbClr val="000000"/>
                        </a:solidFill>
                        <a:effectLst/>
                        <a:latin typeface="+mj-lt"/>
                      </a:endParaRPr>
                    </a:p>
                  </a:txBody>
                  <a:tcPr marL="0" marR="0" marT="0" marB="0" anchor="ctr"/>
                </a:tc>
                <a:tc>
                  <a:txBody>
                    <a:bodyPr/>
                    <a:lstStyle/>
                    <a:p>
                      <a:pPr algn="r" fontAlgn="ctr"/>
                      <a:r>
                        <a:rPr lang="vi-VN" sz="1300" b="1" u="none" strike="noStrike" dirty="0">
                          <a:effectLst/>
                          <a:latin typeface="+mj-lt"/>
                        </a:rPr>
                        <a:t>36,22</a:t>
                      </a:r>
                      <a:endParaRPr lang="vi-VN" sz="1300" b="1"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790096688"/>
                  </a:ext>
                </a:extLst>
              </a:tr>
            </a:tbl>
          </a:graphicData>
        </a:graphic>
      </p:graphicFrame>
    </p:spTree>
    <p:extLst>
      <p:ext uri="{BB962C8B-B14F-4D97-AF65-F5344CB8AC3E}">
        <p14:creationId xmlns:p14="http://schemas.microsoft.com/office/powerpoint/2010/main" val="247715977"/>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xmlns="" id="{FBFFDBCD-49A2-B604-F9E9-B81E95DF4EB5}"/>
              </a:ext>
            </a:extLst>
          </p:cNvPr>
          <p:cNvGraphicFramePr>
            <a:graphicFrameLocks noGrp="1"/>
          </p:cNvGraphicFramePr>
          <p:nvPr>
            <p:extLst>
              <p:ext uri="{D42A27DB-BD31-4B8C-83A1-F6EECF244321}">
                <p14:modId xmlns:p14="http://schemas.microsoft.com/office/powerpoint/2010/main" val="2710209185"/>
              </p:ext>
            </p:extLst>
          </p:nvPr>
        </p:nvGraphicFramePr>
        <p:xfrm>
          <a:off x="342017" y="796154"/>
          <a:ext cx="11673972" cy="6339840"/>
        </p:xfrm>
        <a:graphic>
          <a:graphicData uri="http://schemas.openxmlformats.org/drawingml/2006/table">
            <a:tbl>
              <a:tblPr firstRow="1" bandRow="1"/>
              <a:tblGrid>
                <a:gridCol w="11673972">
                  <a:extLst>
                    <a:ext uri="{9D8B030D-6E8A-4147-A177-3AD203B41FA5}">
                      <a16:colId xmlns:a16="http://schemas.microsoft.com/office/drawing/2014/main" xmlns="" val="3655493598"/>
                    </a:ext>
                  </a:extLst>
                </a:gridCol>
              </a:tblGrid>
              <a:tr h="29223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Quyế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19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ă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ả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20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UBND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ban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04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ă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ả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ướ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ẫ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ô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ố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ao</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ậ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i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x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ộ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2023.</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ố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ợ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tin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uyề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ệ</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ố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ậ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ữ</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ướ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ẫ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ậ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ệ</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ố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ợ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tin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i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x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ộ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hủ</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yế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2023</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giao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xo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2023</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11/11 địa phương đã giao 14 chỉ tiêu tỉnh thông báo, trong đó:</a:t>
                      </a:r>
                    </a:p>
                    <a:p>
                      <a:pPr marL="6120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05 địa phương: An Nhơn, Hoài Nhơn, Tuy Phước, Tây Sơn và Vân Canh: đã giao đầy đủ đến cấp xã; giao theo quý và theo tháng</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03 địa phương: Vĩnh Thạnh, Phù Mỹ và Hoài Ân: đã giao đầy đủ đến cấp xã; đã giao theo quý và một số chỉ tiêu theo tháng</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03 địa phương: Quy Nh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ù</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á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n L</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ão: đã giao đầy đủ đến cấp xã; một số chỉ tiêu đã giao theo quý; chưa giao chi tiết theo thá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342900" algn="l"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UBND</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ỉnh</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đã</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hành</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lập</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ổ</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công</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ác</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liên</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ngành</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hỗ</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rợ</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các</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phương</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hoàn</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hành</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chỉ</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iêu</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kế</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hoạch</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phát</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triển</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KT-XH </a:t>
                      </a:r>
                      <a:r>
                        <a:rPr lang="es-ES" sz="2000" b="0"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s-ES" sz="2000" b="0" kern="1200" baseline="0" dirty="0">
                          <a:solidFill>
                            <a:schemeClr val="dk1"/>
                          </a:solidFill>
                          <a:effectLst/>
                          <a:latin typeface="Times New Roman" panose="02020603050405020304" pitchFamily="18" charset="0"/>
                          <a:ea typeface="+mn-ea"/>
                          <a:cs typeface="Times New Roman" panose="02020603050405020304" pitchFamily="18" charset="0"/>
                        </a:rPr>
                        <a:t> 2023</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26910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lang="vi-VN" sz="2000" b="0" dirty="0">
                          <a:effectLst/>
                        </a:rPr>
                        <a:t/>
                      </a:r>
                      <a:br>
                        <a:rPr lang="vi-VN" sz="2000" b="0" dirty="0">
                          <a:effectLst/>
                        </a:rPr>
                      </a:br>
                      <a:endParaRPr lang="es-E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sp>
        <p:nvSpPr>
          <p:cNvPr id="3" name="Title 1">
            <a:extLst>
              <a:ext uri="{FF2B5EF4-FFF2-40B4-BE49-F238E27FC236}">
                <a16:creationId xmlns:a16="http://schemas.microsoft.com/office/drawing/2014/main" xmlns="" id="{E2060C7B-D80B-2D4B-6C50-1215E3EA3460}"/>
              </a:ext>
            </a:extLst>
          </p:cNvPr>
          <p:cNvSpPr txBox="1">
            <a:spLocks/>
          </p:cNvSpPr>
          <p:nvPr/>
        </p:nvSpPr>
        <p:spPr>
          <a:xfrm>
            <a:off x="379203" y="113914"/>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dirty="0">
                <a:solidFill>
                  <a:srgbClr val="064273"/>
                </a:solidFill>
                <a:cs typeface="Arial" panose="020B0604020202020204" pitchFamily="34" charset="0"/>
              </a:rPr>
              <a:t>* </a:t>
            </a:r>
            <a:r>
              <a:rPr lang="vi-VN" sz="2800" b="1" dirty="0">
                <a:solidFill>
                  <a:srgbClr val="064273"/>
                </a:solidFill>
                <a:cs typeface="Arial" panose="020B0604020202020204" pitchFamily="34" charset="0"/>
              </a:rPr>
              <a:t>TRIỂN KHAI QUYẾT ĐỊNH 19/QĐ-UBND CỦA UBND TỈNH</a:t>
            </a:r>
          </a:p>
          <a:p>
            <a:pPr>
              <a:lnSpc>
                <a:spcPct val="100000"/>
              </a:lnSpc>
            </a:pPr>
            <a:endParaRPr lang="vi-VN" sz="2800" b="1" dirty="0">
              <a:solidFill>
                <a:srgbClr val="064273"/>
              </a:solidFil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xmlns="" id="{B3AFD0A1-EC23-2CD8-C933-80EDD073EC21}"/>
              </a:ext>
            </a:extLst>
          </p:cNvPr>
          <p:cNvCxnSpPr>
            <a:cxnSpLocks/>
          </p:cNvCxnSpPr>
          <p:nvPr/>
        </p:nvCxnSpPr>
        <p:spPr>
          <a:xfrm>
            <a:off x="488466" y="592087"/>
            <a:ext cx="9888716"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83746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01DC26C3-E6F4-C27A-8624-3A65D81B6008}"/>
              </a:ext>
            </a:extLst>
          </p:cNvPr>
          <p:cNvSpPr/>
          <p:nvPr/>
        </p:nvSpPr>
        <p:spPr>
          <a:xfrm>
            <a:off x="277707" y="290039"/>
            <a:ext cx="11668215" cy="461665"/>
          </a:xfrm>
          <a:prstGeom prst="rect">
            <a:avLst/>
          </a:prstGeom>
        </p:spPr>
        <p:txBody>
          <a:bodyPr wrap="squar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4</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ầ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ư</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phá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iển</a:t>
            </a:r>
            <a:r>
              <a:rPr lang="en-US" sz="2400" b="1" spc="-20">
                <a:solidFill>
                  <a:srgbClr val="100717"/>
                </a:solidFill>
                <a:latin typeface="Times New Roman" panose="02020603050405020304" pitchFamily="18" charset="0"/>
                <a:cs typeface="Times New Roman" panose="02020603050405020304" pitchFamily="18" charset="0"/>
              </a:rPr>
              <a:t>: Giải </a:t>
            </a:r>
            <a:r>
              <a:rPr lang="en-US" sz="2400" b="1" spc="-20" dirty="0" err="1">
                <a:solidFill>
                  <a:srgbClr val="100717"/>
                </a:solidFill>
                <a:latin typeface="Times New Roman" panose="02020603050405020304" pitchFamily="18" charset="0"/>
                <a:cs typeface="Times New Roman" panose="02020603050405020304" pitchFamily="18" charset="0"/>
              </a:rPr>
              <a:t>ngâ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ố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ầ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ư</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uồ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ố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phâ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ấp</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latin typeface="Times New Roman" panose="02020603050405020304" pitchFamily="18" charset="0"/>
                <a:cs typeface="Times New Roman" panose="02020603050405020304" pitchFamily="18" charset="0"/>
              </a:rPr>
              <a:t>huyện</a:t>
            </a:r>
            <a:r>
              <a:rPr lang="en-US" sz="2400" b="1" spc="-20" dirty="0">
                <a:latin typeface="Times New Roman" panose="02020603050405020304" pitchFamily="18" charset="0"/>
                <a:cs typeface="Times New Roman" panose="02020603050405020304" pitchFamily="18" charset="0"/>
              </a:rPr>
              <a:t> </a:t>
            </a:r>
            <a:r>
              <a:rPr lang="en-US" sz="2400" b="1" spc="-20" err="1">
                <a:latin typeface="Times New Roman" panose="02020603050405020304" pitchFamily="18" charset="0"/>
                <a:cs typeface="Times New Roman" panose="02020603050405020304" pitchFamily="18" charset="0"/>
              </a:rPr>
              <a:t>quản</a:t>
            </a:r>
            <a:r>
              <a:rPr lang="en-US" sz="2400" b="1" spc="-20">
                <a:latin typeface="Times New Roman" panose="02020603050405020304" pitchFamily="18" charset="0"/>
                <a:cs typeface="Times New Roman" panose="02020603050405020304" pitchFamily="18" charset="0"/>
              </a:rPr>
              <a:t> lý</a:t>
            </a:r>
            <a:endParaRPr lang="en-US" sz="2400" b="1" spc="-20"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xmlns="" id="{598791A5-8485-4BE4-0BFB-3F8147874A24}"/>
              </a:ext>
            </a:extLst>
          </p:cNvPr>
          <p:cNvGraphicFramePr>
            <a:graphicFrameLocks noGrp="1"/>
          </p:cNvGraphicFramePr>
          <p:nvPr/>
        </p:nvGraphicFramePr>
        <p:xfrm>
          <a:off x="1343025" y="1655286"/>
          <a:ext cx="8877298" cy="4650270"/>
        </p:xfrm>
        <a:graphic>
          <a:graphicData uri="http://schemas.openxmlformats.org/drawingml/2006/table">
            <a:tbl>
              <a:tblPr firstRow="1">
                <a:tableStyleId>{FABFCF23-3B69-468F-B69F-88F6DE6A72F2}</a:tableStyleId>
              </a:tblPr>
              <a:tblGrid>
                <a:gridCol w="973638">
                  <a:extLst>
                    <a:ext uri="{9D8B030D-6E8A-4147-A177-3AD203B41FA5}">
                      <a16:colId xmlns:a16="http://schemas.microsoft.com/office/drawing/2014/main" xmlns="" val="700701288"/>
                    </a:ext>
                  </a:extLst>
                </a:gridCol>
                <a:gridCol w="2674437">
                  <a:extLst>
                    <a:ext uri="{9D8B030D-6E8A-4147-A177-3AD203B41FA5}">
                      <a16:colId xmlns:a16="http://schemas.microsoft.com/office/drawing/2014/main" xmlns="" val="1209501505"/>
                    </a:ext>
                  </a:extLst>
                </a:gridCol>
                <a:gridCol w="1962150">
                  <a:extLst>
                    <a:ext uri="{9D8B030D-6E8A-4147-A177-3AD203B41FA5}">
                      <a16:colId xmlns:a16="http://schemas.microsoft.com/office/drawing/2014/main" xmlns="" val="1715881265"/>
                    </a:ext>
                  </a:extLst>
                </a:gridCol>
                <a:gridCol w="1971675">
                  <a:extLst>
                    <a:ext uri="{9D8B030D-6E8A-4147-A177-3AD203B41FA5}">
                      <a16:colId xmlns:a16="http://schemas.microsoft.com/office/drawing/2014/main" xmlns="" val="4084334288"/>
                    </a:ext>
                  </a:extLst>
                </a:gridCol>
                <a:gridCol w="1295398">
                  <a:extLst>
                    <a:ext uri="{9D8B030D-6E8A-4147-A177-3AD203B41FA5}">
                      <a16:colId xmlns:a16="http://schemas.microsoft.com/office/drawing/2014/main" xmlns="" val="3722735090"/>
                    </a:ext>
                  </a:extLst>
                </a:gridCol>
              </a:tblGrid>
              <a:tr h="1162566">
                <a:tc>
                  <a:txBody>
                    <a:bodyPr/>
                    <a:lstStyle/>
                    <a:p>
                      <a:pPr algn="ctr" fontAlgn="ctr"/>
                      <a:r>
                        <a:rPr lang="vi-VN" sz="1800" u="none" strike="noStrike">
                          <a:effectLst/>
                          <a:latin typeface="+mj-lt"/>
                        </a:rPr>
                        <a:t>STT</a:t>
                      </a:r>
                      <a:endParaRPr lang="vi-VN" sz="1800" b="1" i="0" u="none" strike="noStrike">
                        <a:solidFill>
                          <a:srgbClr val="000000"/>
                        </a:solidFill>
                        <a:effectLst/>
                        <a:latin typeface="+mj-lt"/>
                      </a:endParaRPr>
                    </a:p>
                  </a:txBody>
                  <a:tcPr marL="0" marR="0" marT="0" marB="0" anchor="ctr"/>
                </a:tc>
                <a:tc>
                  <a:txBody>
                    <a:bodyPr/>
                    <a:lstStyle/>
                    <a:p>
                      <a:pPr algn="ctr" fontAlgn="ctr"/>
                      <a:r>
                        <a:rPr lang="vi-VN" sz="1800" u="none" strike="noStrike" dirty="0">
                          <a:effectLst/>
                          <a:latin typeface="+mj-lt"/>
                        </a:rPr>
                        <a:t>Địa phương</a:t>
                      </a:r>
                      <a:endParaRPr lang="vi-VN" sz="1800" b="1" i="0" u="none" strike="noStrike" dirty="0">
                        <a:solidFill>
                          <a:srgbClr val="000000"/>
                        </a:solidFill>
                        <a:effectLst/>
                        <a:latin typeface="+mj-lt"/>
                      </a:endParaRPr>
                    </a:p>
                  </a:txBody>
                  <a:tcPr marL="0" marR="0" marT="0" marB="0" anchor="ctr"/>
                </a:tc>
                <a:tc>
                  <a:txBody>
                    <a:bodyPr/>
                    <a:lstStyle/>
                    <a:p>
                      <a:pPr algn="ctr" fontAlgn="ctr"/>
                      <a:r>
                        <a:rPr lang="vi-VN" sz="1800" u="none" strike="noStrike">
                          <a:effectLst/>
                          <a:latin typeface="+mj-lt"/>
                        </a:rPr>
                        <a:t>KH 2023 được tỉnh phân cấp</a:t>
                      </a:r>
                      <a:endParaRPr lang="vi-VN" sz="1800" b="1" i="0" u="none" strike="noStrike">
                        <a:solidFill>
                          <a:srgbClr val="000000"/>
                        </a:solidFill>
                        <a:effectLst/>
                        <a:latin typeface="+mj-lt"/>
                      </a:endParaRPr>
                    </a:p>
                  </a:txBody>
                  <a:tcPr marL="0" marR="0" marT="0" marB="0" anchor="ctr"/>
                </a:tc>
                <a:tc>
                  <a:txBody>
                    <a:bodyPr/>
                    <a:lstStyle/>
                    <a:p>
                      <a:pPr algn="ctr" fontAlgn="ctr"/>
                      <a:r>
                        <a:rPr lang="vi-VN" sz="1800" u="none" strike="noStrike">
                          <a:effectLst/>
                          <a:latin typeface="+mj-lt"/>
                        </a:rPr>
                        <a:t>Tổng giải ngân KH 2023</a:t>
                      </a:r>
                      <a:br>
                        <a:rPr lang="vi-VN" sz="1800" u="none" strike="noStrike">
                          <a:effectLst/>
                          <a:latin typeface="+mj-lt"/>
                        </a:rPr>
                      </a:br>
                      <a:r>
                        <a:rPr lang="vi-VN" sz="1800" u="none" strike="noStrike">
                          <a:effectLst/>
                          <a:latin typeface="+mj-lt"/>
                        </a:rPr>
                        <a:t>(01/01/2023 đến 04/5/2023)</a:t>
                      </a:r>
                      <a:endParaRPr lang="vi-VN" sz="1800" b="1" i="0" u="none" strike="noStrike">
                        <a:solidFill>
                          <a:srgbClr val="000000"/>
                        </a:solidFill>
                        <a:effectLst/>
                        <a:latin typeface="+mj-lt"/>
                      </a:endParaRPr>
                    </a:p>
                  </a:txBody>
                  <a:tcPr marL="0" marR="0" marT="0" marB="0" anchor="ctr"/>
                </a:tc>
                <a:tc>
                  <a:txBody>
                    <a:bodyPr/>
                    <a:lstStyle/>
                    <a:p>
                      <a:pPr algn="ctr" fontAlgn="ctr"/>
                      <a:r>
                        <a:rPr lang="vi-VN" sz="1800" u="none" strike="noStrike">
                          <a:effectLst/>
                          <a:latin typeface="+mj-lt"/>
                        </a:rPr>
                        <a:t>Tỷ lệ</a:t>
                      </a:r>
                      <a:br>
                        <a:rPr lang="vi-VN" sz="1800" u="none" strike="noStrike">
                          <a:effectLst/>
                          <a:latin typeface="+mj-lt"/>
                        </a:rPr>
                      </a:br>
                      <a:r>
                        <a:rPr lang="vi-VN" sz="1800" u="none" strike="noStrike">
                          <a:effectLst/>
                          <a:latin typeface="+mj-lt"/>
                        </a:rPr>
                        <a:t>(%)</a:t>
                      </a:r>
                      <a:endParaRPr lang="vi-VN" sz="1800" b="1"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712321922"/>
                  </a:ext>
                </a:extLst>
              </a:tr>
              <a:tr h="290642">
                <a:tc>
                  <a:txBody>
                    <a:bodyPr/>
                    <a:lstStyle/>
                    <a:p>
                      <a:pPr algn="ctr" fontAlgn="ctr"/>
                      <a:r>
                        <a:rPr lang="vi-VN" sz="1800" b="1" u="none" strike="noStrike" dirty="0">
                          <a:effectLst/>
                          <a:latin typeface="+mj-lt"/>
                        </a:rPr>
                        <a:t> </a:t>
                      </a:r>
                      <a:endParaRPr lang="vi-VN" sz="1800" b="1" i="0" u="none" strike="noStrike" dirty="0">
                        <a:solidFill>
                          <a:srgbClr val="000000"/>
                        </a:solidFill>
                        <a:effectLst/>
                        <a:latin typeface="+mj-lt"/>
                      </a:endParaRPr>
                    </a:p>
                  </a:txBody>
                  <a:tcPr marL="0" marR="0" marT="0" marB="0" anchor="ctr"/>
                </a:tc>
                <a:tc>
                  <a:txBody>
                    <a:bodyPr/>
                    <a:lstStyle/>
                    <a:p>
                      <a:pPr algn="ctr" fontAlgn="ctr"/>
                      <a:r>
                        <a:rPr lang="vi-VN" sz="1800" b="1" u="none" strike="noStrike" dirty="0">
                          <a:effectLst/>
                          <a:latin typeface="+mj-lt"/>
                        </a:rPr>
                        <a:t>TỔNG CỘNG</a:t>
                      </a:r>
                      <a:endParaRPr lang="vi-VN" sz="1800" b="1" i="0" u="none" strike="noStrike" dirty="0">
                        <a:solidFill>
                          <a:srgbClr val="000000"/>
                        </a:solidFill>
                        <a:effectLst/>
                        <a:latin typeface="+mj-lt"/>
                      </a:endParaRPr>
                    </a:p>
                  </a:txBody>
                  <a:tcPr marL="0" marR="0" marT="0" marB="0" anchor="ctr"/>
                </a:tc>
                <a:tc>
                  <a:txBody>
                    <a:bodyPr/>
                    <a:lstStyle/>
                    <a:p>
                      <a:pPr algn="r" fontAlgn="ctr"/>
                      <a:r>
                        <a:rPr lang="vi-VN" sz="1800" b="1" u="none" strike="noStrike">
                          <a:effectLst/>
                          <a:latin typeface="+mj-lt"/>
                        </a:rPr>
                        <a:t>3.027.797</a:t>
                      </a:r>
                      <a:endParaRPr lang="vi-VN" sz="1800" b="1" i="0" u="none" strike="noStrike">
                        <a:solidFill>
                          <a:srgbClr val="000000"/>
                        </a:solidFill>
                        <a:effectLst/>
                        <a:latin typeface="+mj-lt"/>
                      </a:endParaRPr>
                    </a:p>
                  </a:txBody>
                  <a:tcPr marL="0" marR="0" marT="0" marB="0" anchor="ctr"/>
                </a:tc>
                <a:tc>
                  <a:txBody>
                    <a:bodyPr/>
                    <a:lstStyle/>
                    <a:p>
                      <a:pPr algn="r" fontAlgn="ctr"/>
                      <a:r>
                        <a:rPr lang="vi-VN" sz="1800" b="1" u="none" strike="noStrike">
                          <a:effectLst/>
                          <a:latin typeface="+mj-lt"/>
                        </a:rPr>
                        <a:t>457.009</a:t>
                      </a:r>
                      <a:endParaRPr lang="vi-VN" sz="1800" b="1" i="0" u="none" strike="noStrike">
                        <a:solidFill>
                          <a:srgbClr val="000000"/>
                        </a:solidFill>
                        <a:effectLst/>
                        <a:latin typeface="+mj-lt"/>
                      </a:endParaRPr>
                    </a:p>
                  </a:txBody>
                  <a:tcPr marL="0" marR="0" marT="0" marB="0" anchor="ctr"/>
                </a:tc>
                <a:tc>
                  <a:txBody>
                    <a:bodyPr/>
                    <a:lstStyle/>
                    <a:p>
                      <a:pPr algn="r" fontAlgn="ctr"/>
                      <a:r>
                        <a:rPr lang="vi-VN" sz="1800" b="1" u="none" strike="noStrike" dirty="0">
                          <a:effectLst/>
                          <a:latin typeface="+mj-lt"/>
                        </a:rPr>
                        <a:t>15,09</a:t>
                      </a:r>
                      <a:endParaRPr lang="vi-VN" sz="1800" b="1"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4072128101"/>
                  </a:ext>
                </a:extLst>
              </a:tr>
              <a:tr h="290642">
                <a:tc>
                  <a:txBody>
                    <a:bodyPr/>
                    <a:lstStyle/>
                    <a:p>
                      <a:pPr algn="ctr" fontAlgn="b"/>
                      <a:r>
                        <a:rPr lang="vi-VN" sz="1800" u="none" strike="noStrike">
                          <a:effectLst/>
                          <a:latin typeface="+mj-lt"/>
                        </a:rPr>
                        <a:t>1</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dirty="0">
                          <a:effectLst/>
                          <a:latin typeface="+mj-lt"/>
                        </a:rPr>
                        <a:t>UBND huyện Phù Cát</a:t>
                      </a:r>
                      <a:endParaRPr lang="vi-VN" sz="1800" b="0" i="0" u="none" strike="noStrike" dirty="0">
                        <a:solidFill>
                          <a:srgbClr val="000000"/>
                        </a:solidFill>
                        <a:effectLst/>
                        <a:latin typeface="+mj-lt"/>
                      </a:endParaRPr>
                    </a:p>
                  </a:txBody>
                  <a:tcPr marL="0" marR="0" marT="0" marB="0" anchor="ctr"/>
                </a:tc>
                <a:tc>
                  <a:txBody>
                    <a:bodyPr/>
                    <a:lstStyle/>
                    <a:p>
                      <a:pPr algn="r" fontAlgn="ctr"/>
                      <a:r>
                        <a:rPr lang="vi-VN" sz="1800" u="none" strike="noStrike" dirty="0">
                          <a:effectLst/>
                          <a:latin typeface="+mj-lt"/>
                        </a:rPr>
                        <a:t>323.658</a:t>
                      </a:r>
                      <a:endParaRPr lang="vi-VN" sz="1800" b="0" i="0" u="none" strike="noStrike" dirty="0">
                        <a:solidFill>
                          <a:srgbClr val="000000"/>
                        </a:solidFill>
                        <a:effectLst/>
                        <a:latin typeface="+mj-lt"/>
                      </a:endParaRPr>
                    </a:p>
                  </a:txBody>
                  <a:tcPr marL="0" marR="0" marT="0" marB="0" anchor="ctr"/>
                </a:tc>
                <a:tc>
                  <a:txBody>
                    <a:bodyPr/>
                    <a:lstStyle/>
                    <a:p>
                      <a:pPr algn="r" fontAlgn="ctr"/>
                      <a:r>
                        <a:rPr lang="vi-VN" sz="1800" u="none" strike="noStrike" dirty="0">
                          <a:effectLst/>
                          <a:latin typeface="+mj-lt"/>
                        </a:rPr>
                        <a:t>78.809</a:t>
                      </a:r>
                      <a:endParaRPr lang="vi-VN" sz="1800" b="0" i="0" u="none" strike="noStrike" dirty="0">
                        <a:solidFill>
                          <a:srgbClr val="000000"/>
                        </a:solidFill>
                        <a:effectLst/>
                        <a:latin typeface="+mj-lt"/>
                      </a:endParaRPr>
                    </a:p>
                  </a:txBody>
                  <a:tcPr marL="0" marR="0" marT="0" marB="0" anchor="ctr"/>
                </a:tc>
                <a:tc>
                  <a:txBody>
                    <a:bodyPr/>
                    <a:lstStyle/>
                    <a:p>
                      <a:pPr algn="r" fontAlgn="ctr"/>
                      <a:r>
                        <a:rPr lang="vi-VN" sz="1800" u="none" strike="noStrike" dirty="0">
                          <a:effectLst/>
                          <a:latin typeface="+mj-lt"/>
                        </a:rPr>
                        <a:t>24,35</a:t>
                      </a:r>
                      <a:endParaRPr lang="vi-VN" sz="18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2395002894"/>
                  </a:ext>
                </a:extLst>
              </a:tr>
              <a:tr h="290642">
                <a:tc>
                  <a:txBody>
                    <a:bodyPr/>
                    <a:lstStyle/>
                    <a:p>
                      <a:pPr algn="ctr" fontAlgn="b"/>
                      <a:r>
                        <a:rPr lang="vi-VN" sz="1800" u="none" strike="noStrike">
                          <a:effectLst/>
                          <a:latin typeface="+mj-lt"/>
                        </a:rPr>
                        <a:t>2</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Phù Mỹ</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93.619</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43.668</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22,55</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031480648"/>
                  </a:ext>
                </a:extLst>
              </a:tr>
              <a:tr h="290642">
                <a:tc>
                  <a:txBody>
                    <a:bodyPr/>
                    <a:lstStyle/>
                    <a:p>
                      <a:pPr algn="ctr" fontAlgn="b"/>
                      <a:r>
                        <a:rPr lang="vi-VN" sz="1800" u="none" strike="noStrike">
                          <a:effectLst/>
                          <a:latin typeface="+mj-lt"/>
                        </a:rPr>
                        <a:t>3</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Hoài Ân</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89.805</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8.988</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21,14</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405315478"/>
                  </a:ext>
                </a:extLst>
              </a:tr>
              <a:tr h="290642">
                <a:tc>
                  <a:txBody>
                    <a:bodyPr/>
                    <a:lstStyle/>
                    <a:p>
                      <a:pPr algn="ctr" fontAlgn="b"/>
                      <a:r>
                        <a:rPr lang="vi-VN" sz="1800" u="none" strike="noStrike">
                          <a:effectLst/>
                          <a:latin typeface="+mj-lt"/>
                        </a:rPr>
                        <a:t>4</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thị xã Hoài Nhơn</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443.367</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87.675</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9,77</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96742440"/>
                  </a:ext>
                </a:extLst>
              </a:tr>
              <a:tr h="290642">
                <a:tc>
                  <a:txBody>
                    <a:bodyPr/>
                    <a:lstStyle/>
                    <a:p>
                      <a:pPr algn="ctr" fontAlgn="b"/>
                      <a:r>
                        <a:rPr lang="vi-VN" sz="1800" u="none" strike="noStrike">
                          <a:effectLst/>
                          <a:latin typeface="+mj-lt"/>
                        </a:rPr>
                        <a:t>5</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Vĩnh Thạnh</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65.400</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0.585</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6,19</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289092698"/>
                  </a:ext>
                </a:extLst>
              </a:tr>
              <a:tr h="290642">
                <a:tc>
                  <a:txBody>
                    <a:bodyPr/>
                    <a:lstStyle/>
                    <a:p>
                      <a:pPr algn="ctr" fontAlgn="b"/>
                      <a:r>
                        <a:rPr lang="vi-VN" sz="1800" u="none" strike="noStrike">
                          <a:effectLst/>
                          <a:latin typeface="+mj-lt"/>
                        </a:rPr>
                        <a:t>6</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An Lão</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225.165</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35.961</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5,97</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456949604"/>
                  </a:ext>
                </a:extLst>
              </a:tr>
              <a:tr h="290642">
                <a:tc>
                  <a:txBody>
                    <a:bodyPr/>
                    <a:lstStyle/>
                    <a:p>
                      <a:pPr algn="ctr" fontAlgn="b"/>
                      <a:r>
                        <a:rPr lang="vi-VN" sz="1800" u="none" strike="noStrike">
                          <a:effectLst/>
                          <a:latin typeface="+mj-lt"/>
                        </a:rPr>
                        <a:t>7</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TP Quy Nhơn</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544.907</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80.380</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4,75</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3828620999"/>
                  </a:ext>
                </a:extLst>
              </a:tr>
              <a:tr h="290642">
                <a:tc>
                  <a:txBody>
                    <a:bodyPr/>
                    <a:lstStyle/>
                    <a:p>
                      <a:pPr algn="ctr" fontAlgn="b"/>
                      <a:r>
                        <a:rPr lang="vi-VN" sz="1800" u="none" strike="noStrike">
                          <a:effectLst/>
                          <a:latin typeface="+mj-lt"/>
                        </a:rPr>
                        <a:t>8</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thị xã An Nhơn</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619.934</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74.448</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2,01</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120756435"/>
                  </a:ext>
                </a:extLst>
              </a:tr>
              <a:tr h="290642">
                <a:tc>
                  <a:txBody>
                    <a:bodyPr/>
                    <a:lstStyle/>
                    <a:p>
                      <a:pPr algn="ctr" fontAlgn="b"/>
                      <a:r>
                        <a:rPr lang="vi-VN" sz="1800" u="none" strike="noStrike">
                          <a:effectLst/>
                          <a:latin typeface="+mj-lt"/>
                        </a:rPr>
                        <a:t>9</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Tây Sơn</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41.720</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6.566</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1,69</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4212766317"/>
                  </a:ext>
                </a:extLst>
              </a:tr>
              <a:tr h="290642">
                <a:tc>
                  <a:txBody>
                    <a:bodyPr/>
                    <a:lstStyle/>
                    <a:p>
                      <a:pPr algn="ctr" fontAlgn="b"/>
                      <a:r>
                        <a:rPr lang="vi-VN" sz="1800" u="none" strike="noStrike">
                          <a:effectLst/>
                          <a:latin typeface="+mj-lt"/>
                        </a:rPr>
                        <a:t>10</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Vân Canh</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59.920</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6.705</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11,19</a:t>
                      </a:r>
                      <a:endParaRPr lang="vi-VN" sz="18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xmlns="" val="2224194900"/>
                  </a:ext>
                </a:extLst>
              </a:tr>
              <a:tr h="290642">
                <a:tc>
                  <a:txBody>
                    <a:bodyPr/>
                    <a:lstStyle/>
                    <a:p>
                      <a:pPr algn="ctr" fontAlgn="b"/>
                      <a:r>
                        <a:rPr lang="vi-VN" sz="1800" u="none" strike="noStrike">
                          <a:effectLst/>
                          <a:latin typeface="+mj-lt"/>
                        </a:rPr>
                        <a:t>11</a:t>
                      </a:r>
                      <a:endParaRPr lang="vi-VN" sz="1800" b="0" i="0" u="none" strike="noStrike">
                        <a:solidFill>
                          <a:srgbClr val="000000"/>
                        </a:solidFill>
                        <a:effectLst/>
                        <a:latin typeface="+mj-lt"/>
                      </a:endParaRPr>
                    </a:p>
                  </a:txBody>
                  <a:tcPr marL="0" marR="0" marT="0" marB="0" anchor="b"/>
                </a:tc>
                <a:tc>
                  <a:txBody>
                    <a:bodyPr/>
                    <a:lstStyle/>
                    <a:p>
                      <a:pPr algn="l" fontAlgn="ctr"/>
                      <a:r>
                        <a:rPr lang="vi-VN" sz="1800" u="none" strike="noStrike">
                          <a:effectLst/>
                          <a:latin typeface="+mj-lt"/>
                        </a:rPr>
                        <a:t>UBND huyện Tuy Phước</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320.302</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a:effectLst/>
                          <a:latin typeface="+mj-lt"/>
                        </a:rPr>
                        <a:t>3.223</a:t>
                      </a:r>
                      <a:endParaRPr lang="vi-VN" sz="1800" b="0" i="0" u="none" strike="noStrike">
                        <a:solidFill>
                          <a:srgbClr val="000000"/>
                        </a:solidFill>
                        <a:effectLst/>
                        <a:latin typeface="+mj-lt"/>
                      </a:endParaRPr>
                    </a:p>
                  </a:txBody>
                  <a:tcPr marL="0" marR="0" marT="0" marB="0" anchor="ctr"/>
                </a:tc>
                <a:tc>
                  <a:txBody>
                    <a:bodyPr/>
                    <a:lstStyle/>
                    <a:p>
                      <a:pPr algn="r" fontAlgn="ctr"/>
                      <a:r>
                        <a:rPr lang="vi-VN" sz="1800" u="none" strike="noStrike" dirty="0">
                          <a:effectLst/>
                          <a:latin typeface="+mj-lt"/>
                        </a:rPr>
                        <a:t>1,01</a:t>
                      </a:r>
                      <a:endParaRPr lang="vi-VN" sz="18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xmlns="" val="4017382675"/>
                  </a:ext>
                </a:extLst>
              </a:tr>
            </a:tbl>
          </a:graphicData>
        </a:graphic>
      </p:graphicFrame>
      <p:sp>
        <p:nvSpPr>
          <p:cNvPr id="4" name="TextBox 3">
            <a:extLst>
              <a:ext uri="{FF2B5EF4-FFF2-40B4-BE49-F238E27FC236}">
                <a16:creationId xmlns:a16="http://schemas.microsoft.com/office/drawing/2014/main" xmlns="" id="{C6888588-A0B1-0B2A-380A-1225B8EED879}"/>
              </a:ext>
            </a:extLst>
          </p:cNvPr>
          <p:cNvSpPr txBox="1"/>
          <p:nvPr/>
        </p:nvSpPr>
        <p:spPr>
          <a:xfrm>
            <a:off x="8639175" y="1238120"/>
            <a:ext cx="1887635" cy="338554"/>
          </a:xfrm>
          <a:prstGeom prst="rect">
            <a:avLst/>
          </a:prstGeom>
          <a:noFill/>
        </p:spPr>
        <p:txBody>
          <a:bodyPr wrap="square" rtlCol="0">
            <a:spAutoFit/>
          </a:bodyPr>
          <a:lstStyle/>
          <a:p>
            <a:r>
              <a:rPr lang="en-US" sz="1600" b="1" i="1" dirty="0" err="1">
                <a:latin typeface="Times New Roman" panose="02020603050405020304" pitchFamily="18" charset="0"/>
                <a:cs typeface="Times New Roman" panose="02020603050405020304" pitchFamily="18" charset="0"/>
              </a:rPr>
              <a:t>ĐVT</a:t>
            </a:r>
            <a:r>
              <a:rPr lang="en-US" sz="1600" b="1" i="1" dirty="0">
                <a:latin typeface="Times New Roman" panose="02020603050405020304" pitchFamily="18" charset="0"/>
                <a:cs typeface="Times New Roman" panose="02020603050405020304" pitchFamily="18" charset="0"/>
              </a:rPr>
              <a:t>: </a:t>
            </a:r>
            <a:r>
              <a:rPr lang="en-US" sz="1600" b="1" i="1" dirty="0" err="1">
                <a:latin typeface="Times New Roman" panose="02020603050405020304" pitchFamily="18" charset="0"/>
                <a:cs typeface="Times New Roman" panose="02020603050405020304" pitchFamily="18" charset="0"/>
              </a:rPr>
              <a:t>triệu</a:t>
            </a:r>
            <a:r>
              <a:rPr lang="en-US" sz="1600" b="1" i="1" dirty="0">
                <a:latin typeface="Times New Roman" panose="02020603050405020304" pitchFamily="18" charset="0"/>
                <a:cs typeface="Times New Roman" panose="02020603050405020304" pitchFamily="18" charset="0"/>
              </a:rPr>
              <a:t> </a:t>
            </a:r>
            <a:r>
              <a:rPr lang="en-US" sz="1600" b="1" i="1" dirty="0" err="1">
                <a:latin typeface="Times New Roman" panose="02020603050405020304" pitchFamily="18" charset="0"/>
                <a:cs typeface="Times New Roman" panose="02020603050405020304" pitchFamily="18" charset="0"/>
              </a:rPr>
              <a:t>đồng</a:t>
            </a:r>
            <a:endParaRPr lang="vi-VN" sz="1600" b="1"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84527337"/>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696604404"/>
              </p:ext>
            </p:extLst>
          </p:nvPr>
        </p:nvGraphicFramePr>
        <p:xfrm>
          <a:off x="326525" y="1417320"/>
          <a:ext cx="8255413" cy="4206240"/>
        </p:xfrm>
        <a:graphic>
          <a:graphicData uri="http://schemas.openxmlformats.org/drawingml/2006/table">
            <a:tbl>
              <a:tblPr firstRow="1" bandRow="1"/>
              <a:tblGrid>
                <a:gridCol w="8255413">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nl-NL" sz="2400" b="1" i="1">
                          <a:solidFill>
                            <a:schemeClr val="tx1"/>
                          </a:solidFill>
                          <a:effectLst/>
                          <a:latin typeface="Times New Roman" panose="02020603050405020304" pitchFamily="18" charset="0"/>
                          <a:ea typeface="Times New Roman" panose="02020603050405020304" pitchFamily="18" charset="0"/>
                        </a:rPr>
                        <a:t>Về đầu tư nước ngoài (FDI):</a:t>
                      </a:r>
                      <a:r>
                        <a:rPr lang="nl-NL" sz="2400" b="1" spc="-10">
                          <a:solidFill>
                            <a:schemeClr val="tx1"/>
                          </a:solidFill>
                          <a:effectLst/>
                          <a:latin typeface="Times New Roman" panose="02020603050405020304" pitchFamily="18" charset="0"/>
                          <a:ea typeface="Times New Roman" panose="02020603050405020304" pitchFamily="18" charset="0"/>
                        </a:rPr>
                        <a:t> </a:t>
                      </a:r>
                      <a:r>
                        <a:rPr lang="it-IT" sz="2400" b="0" kern="1200" spc="-10">
                          <a:solidFill>
                            <a:schemeClr val="tx1"/>
                          </a:solidFill>
                          <a:effectLst/>
                          <a:latin typeface="Times New Roman" panose="02020603050405020304" pitchFamily="18" charset="0"/>
                          <a:ea typeface="+mn-ea"/>
                          <a:cs typeface="+mn-cs"/>
                        </a:rPr>
                        <a:t>Trong </a:t>
                      </a:r>
                      <a:r>
                        <a:rPr lang="vi-VN" sz="2400" b="0" kern="1200" spc="-10">
                          <a:solidFill>
                            <a:schemeClr val="tx1"/>
                          </a:solidFill>
                          <a:effectLst/>
                          <a:latin typeface="Times New Roman" panose="02020603050405020304" pitchFamily="18" charset="0"/>
                          <a:ea typeface="+mn-ea"/>
                          <a:cs typeface="+mn-cs"/>
                        </a:rPr>
                        <a:t>tháng chưa phát sinh dự án mới. Đến nay</a:t>
                      </a:r>
                      <a:r>
                        <a:rPr lang="en-US" sz="2400" b="0" kern="1200" spc="-10">
                          <a:solidFill>
                            <a:schemeClr val="tx1"/>
                          </a:solidFill>
                          <a:effectLst/>
                          <a:latin typeface="Times New Roman" panose="02020603050405020304" pitchFamily="18" charset="0"/>
                          <a:ea typeface="+mn-ea"/>
                          <a:cs typeface="+mn-cs"/>
                        </a:rPr>
                        <a:t>, cả tỉnh có 86 dự án FDI với tổng vốn đăng ký 1,13 tỷ USD</a:t>
                      </a:r>
                      <a:endParaRPr lang="vi-VN" sz="24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1" i="1">
                          <a:effectLst/>
                          <a:latin typeface="Times New Roman" panose="02020603050405020304" pitchFamily="18" charset="0"/>
                          <a:ea typeface="Times New Roman" panose="02020603050405020304" pitchFamily="18" charset="0"/>
                        </a:rPr>
                        <a:t> </a:t>
                      </a:r>
                      <a:r>
                        <a:rPr lang="nl-NL" sz="2400" b="1" i="1">
                          <a:effectLst/>
                          <a:latin typeface="Times New Roman" panose="02020603050405020304" pitchFamily="18" charset="0"/>
                          <a:ea typeface="Times New Roman" panose="02020603050405020304" pitchFamily="18" charset="0"/>
                        </a:rPr>
                        <a:t>Về đầu tư trong nước:</a:t>
                      </a:r>
                      <a:r>
                        <a:rPr lang="nl-NL" sz="2400" b="1" spc="-10">
                          <a:effectLst/>
                          <a:latin typeface="Times New Roman" panose="02020603050405020304" pitchFamily="18" charset="0"/>
                          <a:ea typeface="Times New Roman" panose="02020603050405020304" pitchFamily="18" charset="0"/>
                        </a:rPr>
                        <a:t> </a:t>
                      </a:r>
                      <a:r>
                        <a:rPr lang="nl-NL" sz="2400" b="0" kern="1200" spc="-10">
                          <a:solidFill>
                            <a:schemeClr val="tx1"/>
                          </a:solidFill>
                          <a:effectLst/>
                          <a:latin typeface="Times New Roman" panose="02020603050405020304" pitchFamily="18" charset="0"/>
                          <a:ea typeface="+mn-ea"/>
                          <a:cs typeface="+mn-cs"/>
                        </a:rPr>
                        <a:t>Trong </a:t>
                      </a:r>
                      <a:r>
                        <a:rPr lang="vi-VN" sz="2400" b="0" kern="1200" spc="-10">
                          <a:solidFill>
                            <a:schemeClr val="tx1"/>
                          </a:solidFill>
                          <a:effectLst/>
                          <a:latin typeface="Times New Roman" panose="02020603050405020304" pitchFamily="18" charset="0"/>
                          <a:ea typeface="+mn-ea"/>
                          <a:cs typeface="+mn-cs"/>
                        </a:rPr>
                        <a:t>4 tháng đầu năm</a:t>
                      </a:r>
                      <a:r>
                        <a:rPr lang="nl-NL" sz="2400" b="0" kern="1200" spc="-10">
                          <a:solidFill>
                            <a:schemeClr val="tx1"/>
                          </a:solidFill>
                          <a:effectLst/>
                          <a:latin typeface="Times New Roman" panose="02020603050405020304" pitchFamily="18" charset="0"/>
                          <a:ea typeface="+mn-ea"/>
                          <a:cs typeface="+mn-cs"/>
                        </a:rPr>
                        <a:t> đã chấp thuận chủ trương đầu tư cho 26 dự án với tổng vốn đầu tư trên </a:t>
                      </a:r>
                      <a:r>
                        <a:rPr lang="vi-VN" sz="2400" b="0" kern="1200" spc="-10">
                          <a:solidFill>
                            <a:schemeClr val="tx1"/>
                          </a:solidFill>
                          <a:effectLst/>
                          <a:latin typeface="Times New Roman" panose="02020603050405020304" pitchFamily="18" charset="0"/>
                          <a:ea typeface="+mn-ea"/>
                          <a:cs typeface="+mn-cs"/>
                        </a:rPr>
                        <a:t>10.024,8</a:t>
                      </a:r>
                      <a:r>
                        <a:rPr lang="nl-NL" sz="2400" b="0" kern="1200" spc="-10">
                          <a:solidFill>
                            <a:schemeClr val="tx1"/>
                          </a:solidFill>
                          <a:effectLst/>
                          <a:latin typeface="Times New Roman" panose="02020603050405020304" pitchFamily="18" charset="0"/>
                          <a:ea typeface="+mn-ea"/>
                          <a:cs typeface="+mn-cs"/>
                        </a:rPr>
                        <a:t> tỷ đồng</a:t>
                      </a:r>
                      <a:r>
                        <a:rPr lang="vi-VN" sz="2400" b="0" kern="1200" spc="-10">
                          <a:solidFill>
                            <a:schemeClr val="tx1"/>
                          </a:solidFill>
                          <a:effectLst/>
                          <a:latin typeface="Times New Roman" panose="02020603050405020304" pitchFamily="18" charset="0"/>
                          <a:ea typeface="+mn-ea"/>
                          <a:cs typeface="+mn-cs"/>
                        </a:rPr>
                        <a:t>, đạt 43,3% kế hoạch năm (26/60 dự án).</a:t>
                      </a:r>
                      <a:r>
                        <a:rPr lang="nl-NL" sz="2400" b="0" kern="1200" spc="-10">
                          <a:solidFill>
                            <a:schemeClr val="tx1"/>
                          </a:solidFill>
                          <a:effectLst/>
                          <a:latin typeface="Times New Roman" panose="02020603050405020304" pitchFamily="18" charset="0"/>
                          <a:ea typeface="+mn-ea"/>
                          <a:cs typeface="+mn-cs"/>
                        </a:rPr>
                        <a:t> </a:t>
                      </a:r>
                      <a:r>
                        <a:rPr lang="vi-VN" sz="2400" b="0" kern="1200" spc="-10">
                          <a:solidFill>
                            <a:schemeClr val="tx1"/>
                          </a:solidFill>
                          <a:effectLst/>
                          <a:latin typeface="Times New Roman" panose="02020603050405020304" pitchFamily="18" charset="0"/>
                          <a:ea typeface="+mn-ea"/>
                          <a:cs typeface="+mn-cs"/>
                        </a:rPr>
                        <a:t>Trong đó có 06 dự án trong K</a:t>
                      </a:r>
                      <a:r>
                        <a:rPr lang="en-US" sz="2400" b="0" kern="1200" spc="-10">
                          <a:solidFill>
                            <a:schemeClr val="tx1"/>
                          </a:solidFill>
                          <a:effectLst/>
                          <a:latin typeface="Times New Roman" panose="02020603050405020304" pitchFamily="18" charset="0"/>
                          <a:ea typeface="+mn-ea"/>
                          <a:cs typeface="+mn-cs"/>
                        </a:rPr>
                        <a:t>hu kinh tế </a:t>
                      </a:r>
                      <a:r>
                        <a:rPr lang="vi-VN" sz="2400" b="0" kern="1200" spc="-10">
                          <a:solidFill>
                            <a:schemeClr val="tx1"/>
                          </a:solidFill>
                          <a:effectLst/>
                          <a:latin typeface="Times New Roman" panose="02020603050405020304" pitchFamily="18" charset="0"/>
                          <a:ea typeface="+mn-ea"/>
                          <a:cs typeface="+mn-cs"/>
                        </a:rPr>
                        <a:t>và K</a:t>
                      </a:r>
                      <a:r>
                        <a:rPr lang="en-US" sz="2400" b="0" kern="1200" spc="-10">
                          <a:solidFill>
                            <a:schemeClr val="tx1"/>
                          </a:solidFill>
                          <a:effectLst/>
                          <a:latin typeface="Times New Roman" panose="02020603050405020304" pitchFamily="18" charset="0"/>
                          <a:ea typeface="+mn-ea"/>
                          <a:cs typeface="+mn-cs"/>
                        </a:rPr>
                        <a:t>hu công nghiệp</a:t>
                      </a:r>
                      <a:r>
                        <a:rPr lang="vi-VN" sz="2400" b="0" kern="1200" spc="-10">
                          <a:solidFill>
                            <a:schemeClr val="tx1"/>
                          </a:solidFill>
                          <a:effectLst/>
                          <a:latin typeface="Times New Roman" panose="02020603050405020304" pitchFamily="18" charset="0"/>
                          <a:ea typeface="+mn-ea"/>
                          <a:cs typeface="+mn-cs"/>
                        </a:rPr>
                        <a:t> với tổng vốn đăng ký </a:t>
                      </a:r>
                      <a:r>
                        <a:rPr lang="en-US" sz="2400" b="0" kern="1200" spc="-10">
                          <a:solidFill>
                            <a:schemeClr val="tx1"/>
                          </a:solidFill>
                          <a:effectLst/>
                          <a:latin typeface="Times New Roman" panose="02020603050405020304" pitchFamily="18" charset="0"/>
                          <a:ea typeface="+mn-ea"/>
                          <a:cs typeface="+mn-cs"/>
                        </a:rPr>
                        <a:t>trên </a:t>
                      </a:r>
                      <a:r>
                        <a:rPr lang="vi-VN" sz="2400" b="0" kern="1200" spc="-10">
                          <a:solidFill>
                            <a:schemeClr val="tx1"/>
                          </a:solidFill>
                          <a:effectLst/>
                          <a:latin typeface="Times New Roman" panose="02020603050405020304" pitchFamily="18" charset="0"/>
                          <a:ea typeface="+mn-ea"/>
                          <a:cs typeface="+mn-cs"/>
                        </a:rPr>
                        <a:t>426 tỷ đồng; 20 dự án </a:t>
                      </a:r>
                      <a:r>
                        <a:rPr lang="en-US" sz="2400" b="0" kern="1200" spc="-10">
                          <a:solidFill>
                            <a:schemeClr val="tx1"/>
                          </a:solidFill>
                          <a:effectLst/>
                          <a:latin typeface="Times New Roman" panose="02020603050405020304" pitchFamily="18" charset="0"/>
                          <a:ea typeface="+mn-ea"/>
                          <a:cs typeface="+mn-cs"/>
                        </a:rPr>
                        <a:t>ngoài </a:t>
                      </a:r>
                      <a:r>
                        <a:rPr lang="vi-VN" sz="2400" b="0" kern="1200" spc="-10">
                          <a:solidFill>
                            <a:schemeClr val="tx1"/>
                          </a:solidFill>
                          <a:effectLst/>
                          <a:latin typeface="Times New Roman" panose="02020603050405020304" pitchFamily="18" charset="0"/>
                          <a:ea typeface="+mn-ea"/>
                          <a:cs typeface="+mn-cs"/>
                        </a:rPr>
                        <a:t>K</a:t>
                      </a:r>
                      <a:r>
                        <a:rPr lang="en-US" sz="2400" b="0" kern="1200" spc="-10">
                          <a:solidFill>
                            <a:schemeClr val="tx1"/>
                          </a:solidFill>
                          <a:effectLst/>
                          <a:latin typeface="Times New Roman" panose="02020603050405020304" pitchFamily="18" charset="0"/>
                          <a:ea typeface="+mn-ea"/>
                          <a:cs typeface="+mn-cs"/>
                        </a:rPr>
                        <a:t>hu kinh tế</a:t>
                      </a:r>
                      <a:r>
                        <a:rPr lang="vi-VN" sz="2400" b="0" kern="1200" spc="-10">
                          <a:solidFill>
                            <a:schemeClr val="tx1"/>
                          </a:solidFill>
                          <a:effectLst/>
                          <a:latin typeface="Times New Roman" panose="02020603050405020304" pitchFamily="18" charset="0"/>
                          <a:ea typeface="+mn-ea"/>
                          <a:cs typeface="+mn-cs"/>
                        </a:rPr>
                        <a:t> và K</a:t>
                      </a:r>
                      <a:r>
                        <a:rPr lang="en-US" sz="2400" b="0" kern="1200" spc="-10">
                          <a:solidFill>
                            <a:schemeClr val="tx1"/>
                          </a:solidFill>
                          <a:effectLst/>
                          <a:latin typeface="Times New Roman" panose="02020603050405020304" pitchFamily="18" charset="0"/>
                          <a:ea typeface="+mn-ea"/>
                          <a:cs typeface="+mn-cs"/>
                        </a:rPr>
                        <a:t>hu công nghiệp </a:t>
                      </a:r>
                      <a:r>
                        <a:rPr lang="vi-VN" sz="2400" b="0" kern="1200" spc="-10">
                          <a:solidFill>
                            <a:schemeClr val="tx1"/>
                          </a:solidFill>
                          <a:effectLst/>
                          <a:latin typeface="Times New Roman" panose="02020603050405020304" pitchFamily="18" charset="0"/>
                          <a:ea typeface="+mn-ea"/>
                          <a:cs typeface="+mn-cs"/>
                        </a:rPr>
                        <a:t>với tổng vốn đầu tư </a:t>
                      </a:r>
                      <a:r>
                        <a:rPr lang="en-US" sz="2400" b="0" kern="1200" spc="-10">
                          <a:solidFill>
                            <a:schemeClr val="tx1"/>
                          </a:solidFill>
                          <a:effectLst/>
                          <a:latin typeface="Times New Roman" panose="02020603050405020304" pitchFamily="18" charset="0"/>
                          <a:ea typeface="+mn-ea"/>
                          <a:cs typeface="+mn-cs"/>
                        </a:rPr>
                        <a:t>trên </a:t>
                      </a:r>
                      <a:r>
                        <a:rPr lang="vi-VN" sz="2400" b="0" kern="1200" spc="-10">
                          <a:solidFill>
                            <a:schemeClr val="tx1"/>
                          </a:solidFill>
                          <a:effectLst/>
                          <a:latin typeface="Times New Roman" panose="02020603050405020304" pitchFamily="18" charset="0"/>
                          <a:ea typeface="+mn-ea"/>
                          <a:cs typeface="+mn-cs"/>
                        </a:rPr>
                        <a:t>9.598,8 tỷ đồng. Ngoài ra</a:t>
                      </a:r>
                      <a:r>
                        <a:rPr lang="nl-NL" sz="2400" b="0" kern="1200" spc="-10">
                          <a:solidFill>
                            <a:schemeClr val="tx1"/>
                          </a:solidFill>
                          <a:effectLst/>
                          <a:latin typeface="Times New Roman" panose="02020603050405020304" pitchFamily="18" charset="0"/>
                          <a:ea typeface="+mn-ea"/>
                          <a:cs typeface="+mn-cs"/>
                        </a:rPr>
                        <a:t>, thực hiện </a:t>
                      </a:r>
                      <a:r>
                        <a:rPr lang="vi-VN" sz="2400" b="0" kern="1200" spc="-10">
                          <a:solidFill>
                            <a:schemeClr val="tx1"/>
                          </a:solidFill>
                          <a:effectLst/>
                          <a:latin typeface="Times New Roman" panose="02020603050405020304" pitchFamily="18" charset="0"/>
                          <a:ea typeface="+mn-ea"/>
                          <a:cs typeface="+mn-cs"/>
                        </a:rPr>
                        <a:t>tăng vốn 03 dự án với tổng vốn tăng thêm </a:t>
                      </a:r>
                      <a:r>
                        <a:rPr lang="nl-NL" sz="2400" b="0" kern="1200" spc="-10">
                          <a:solidFill>
                            <a:schemeClr val="tx1"/>
                          </a:solidFill>
                          <a:effectLst/>
                          <a:latin typeface="Times New Roman" panose="02020603050405020304" pitchFamily="18" charset="0"/>
                          <a:ea typeface="+mn-ea"/>
                          <a:cs typeface="+mn-cs"/>
                        </a:rPr>
                        <a:t>2.</a:t>
                      </a:r>
                      <a:r>
                        <a:rPr lang="vi-VN" sz="2400" b="0" kern="1200" spc="-10">
                          <a:solidFill>
                            <a:schemeClr val="tx1"/>
                          </a:solidFill>
                          <a:effectLst/>
                          <a:latin typeface="Times New Roman" panose="02020603050405020304" pitchFamily="18" charset="0"/>
                          <a:ea typeface="+mn-ea"/>
                          <a:cs typeface="+mn-cs"/>
                        </a:rPr>
                        <a:t>84</a:t>
                      </a:r>
                      <a:r>
                        <a:rPr lang="nl-NL" sz="2400" b="0" kern="1200" spc="-10">
                          <a:solidFill>
                            <a:schemeClr val="tx1"/>
                          </a:solidFill>
                          <a:effectLst/>
                          <a:latin typeface="Times New Roman" panose="02020603050405020304" pitchFamily="18" charset="0"/>
                          <a:ea typeface="+mn-ea"/>
                          <a:cs typeface="+mn-cs"/>
                        </a:rPr>
                        <a:t>0</a:t>
                      </a:r>
                      <a:r>
                        <a:rPr lang="vi-VN" sz="2400" b="0" kern="1200" spc="-10">
                          <a:solidFill>
                            <a:schemeClr val="tx1"/>
                          </a:solidFill>
                          <a:effectLst/>
                          <a:latin typeface="Times New Roman" panose="02020603050405020304" pitchFamily="18" charset="0"/>
                          <a:ea typeface="+mn-ea"/>
                          <a:cs typeface="+mn-cs"/>
                        </a:rPr>
                        <a:t>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pic>
        <p:nvPicPr>
          <p:cNvPr id="7" name="Picture 6" descr="A picture containing decorated&#10;&#10;Description automatically generated">
            <a:extLst>
              <a:ext uri="{FF2B5EF4-FFF2-40B4-BE49-F238E27FC236}">
                <a16:creationId xmlns:a16="http://schemas.microsoft.com/office/drawing/2014/main" xmlns="" id="{A8DCE28E-B471-3D60-44FB-21898F409962}"/>
              </a:ext>
            </a:extLst>
          </p:cNvPr>
          <p:cNvPicPr>
            <a:picLocks noChangeAspect="1"/>
          </p:cNvPicPr>
          <p:nvPr/>
        </p:nvPicPr>
        <p:blipFill>
          <a:blip r:embed="rId2"/>
          <a:stretch>
            <a:fillRect/>
          </a:stretch>
        </p:blipFill>
        <p:spPr>
          <a:xfrm>
            <a:off x="8900574" y="1163367"/>
            <a:ext cx="2964901" cy="1849357"/>
          </a:xfrm>
          <a:prstGeom prst="rect">
            <a:avLst/>
          </a:prstGeom>
        </p:spPr>
      </p:pic>
      <p:pic>
        <p:nvPicPr>
          <p:cNvPr id="9" name="Picture 8" descr="A picture containing calendar&#10;&#10;Description automatically generated">
            <a:extLst>
              <a:ext uri="{FF2B5EF4-FFF2-40B4-BE49-F238E27FC236}">
                <a16:creationId xmlns:a16="http://schemas.microsoft.com/office/drawing/2014/main" xmlns="" id="{2D7C230D-DB86-166B-1256-76D32398BC9D}"/>
              </a:ext>
            </a:extLst>
          </p:cNvPr>
          <p:cNvPicPr>
            <a:picLocks noChangeAspect="1"/>
          </p:cNvPicPr>
          <p:nvPr/>
        </p:nvPicPr>
        <p:blipFill>
          <a:blip r:embed="rId3"/>
          <a:stretch>
            <a:fillRect/>
          </a:stretch>
        </p:blipFill>
        <p:spPr>
          <a:xfrm>
            <a:off x="8833461" y="3957342"/>
            <a:ext cx="2973207" cy="1672429"/>
          </a:xfrm>
          <a:prstGeom prst="rect">
            <a:avLst/>
          </a:prstGeom>
        </p:spPr>
      </p:pic>
      <p:sp>
        <p:nvSpPr>
          <p:cNvPr id="2" name="Title 1">
            <a:extLst>
              <a:ext uri="{FF2B5EF4-FFF2-40B4-BE49-F238E27FC236}">
                <a16:creationId xmlns:a16="http://schemas.microsoft.com/office/drawing/2014/main" xmlns="" id="{5A3FF2AF-05D6-0FBA-FC5A-AA76255A0E9A}"/>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3" name="Straight Connector 2">
            <a:extLst>
              <a:ext uri="{FF2B5EF4-FFF2-40B4-BE49-F238E27FC236}">
                <a16:creationId xmlns:a16="http://schemas.microsoft.com/office/drawing/2014/main" xmlns="" id="{71E14BA5-7721-7D1A-DA21-B15D18E7B923}"/>
              </a:ext>
            </a:extLst>
          </p:cNvPr>
          <p:cNvCxnSpPr>
            <a:cxnSpLocks/>
          </p:cNvCxnSpPr>
          <p:nvPr/>
        </p:nvCxnSpPr>
        <p:spPr>
          <a:xfrm>
            <a:off x="777362" y="524236"/>
            <a:ext cx="832469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xmlns="" id="{53B9A8A9-46D9-3DCF-1122-DDDAAC25F137}"/>
              </a:ext>
            </a:extLst>
          </p:cNvPr>
          <p:cNvSpPr/>
          <p:nvPr/>
        </p:nvSpPr>
        <p:spPr>
          <a:xfrm>
            <a:off x="1119325" y="640147"/>
            <a:ext cx="666304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1732124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xmlns="" id="{6FAC93A3-CC52-7E25-D621-8AF9041E90C3}"/>
              </a:ext>
            </a:extLst>
          </p:cNvPr>
          <p:cNvGrpSpPr>
            <a:grpSpLocks/>
          </p:cNvGrpSpPr>
          <p:nvPr/>
        </p:nvGrpSpPr>
        <p:grpSpPr>
          <a:xfrm>
            <a:off x="6938746" y="1974252"/>
            <a:ext cx="2660206" cy="1683379"/>
            <a:chOff x="3724249" y="3747130"/>
            <a:chExt cx="1995155" cy="1167660"/>
          </a:xfrm>
        </p:grpSpPr>
        <p:sp>
          <p:nvSpPr>
            <p:cNvPr id="18" name="Rectangle: Rounded Corners 17">
              <a:extLst>
                <a:ext uri="{FF2B5EF4-FFF2-40B4-BE49-F238E27FC236}">
                  <a16:creationId xmlns:a16="http://schemas.microsoft.com/office/drawing/2014/main" xmlns=""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xmlns=""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xmlns="" id="{8D0CB480-EC39-4DC1-0353-768C8526261D}"/>
                </a:ext>
              </a:extLst>
            </p:cNvPr>
            <p:cNvSpPr txBox="1">
              <a:spLocks/>
            </p:cNvSpPr>
            <p:nvPr/>
          </p:nvSpPr>
          <p:spPr>
            <a:xfrm>
              <a:off x="4132190" y="4070584"/>
              <a:ext cx="1587214" cy="405624"/>
            </a:xfrm>
            <a:prstGeom prst="rect">
              <a:avLst/>
            </a:prstGeom>
            <a:noFill/>
          </p:spPr>
          <p:txBody>
            <a:bodyPr wrap="none" rtlCol="0">
              <a:spAutoFit/>
            </a:bodyPr>
            <a:lstStyle/>
            <a:p>
              <a:r>
                <a:rPr lang="en-US" sz="2800" b="1" dirty="0">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903,6</a:t>
              </a:r>
              <a:r>
                <a:rPr lang="en" sz="3200" b="1" dirty="0">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xmlns="" id="{8DD5A653-6B03-584A-539A-C531FCC0C782}"/>
                </a:ext>
              </a:extLst>
            </p:cNvPr>
            <p:cNvSpPr txBox="1">
              <a:spLocks/>
            </p:cNvSpPr>
            <p:nvPr/>
          </p:nvSpPr>
          <p:spPr>
            <a:xfrm>
              <a:off x="4548759" y="4555768"/>
              <a:ext cx="473928" cy="277533"/>
            </a:xfrm>
            <a:prstGeom prst="rect">
              <a:avLst/>
            </a:prstGeom>
            <a:noFill/>
          </p:spPr>
          <p:txBody>
            <a:bodyPr wrap="none" rtlCol="0">
              <a:spAutoFit/>
            </a:bodyPr>
            <a:lstStyle/>
            <a:p>
              <a:r>
                <a:rPr lang="en-US" sz="2000" b="1" dirty="0">
                  <a:solidFill>
                    <a:schemeClr val="accent6">
                      <a:lumMod val="50000"/>
                    </a:schemeClr>
                  </a:solidFill>
                  <a:ea typeface="Roboto" panose="02000000000000000000" pitchFamily="2" charset="0"/>
                  <a:cs typeface="Fira Sans Extra Condensed"/>
                  <a:sym typeface="Wingdings 3" panose="05040102010807070707" pitchFamily="18" charset="2"/>
                </a:rPr>
                <a:t>21</a:t>
              </a:r>
              <a:r>
                <a:rPr lang="en" sz="20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000" b="1" dirty="0">
                <a:solidFill>
                  <a:schemeClr val="accent6">
                    <a:lumMod val="50000"/>
                  </a:schemeClr>
                </a:solidFill>
              </a:endParaRPr>
            </a:p>
          </p:txBody>
        </p:sp>
      </p:grpSp>
      <p:grpSp>
        <p:nvGrpSpPr>
          <p:cNvPr id="16" name="Group 15">
            <a:extLst>
              <a:ext uri="{FF2B5EF4-FFF2-40B4-BE49-F238E27FC236}">
                <a16:creationId xmlns:a16="http://schemas.microsoft.com/office/drawing/2014/main" xmlns="" id="{2A2B04AE-86A0-AF97-8E7B-7F49808F4821}"/>
              </a:ext>
            </a:extLst>
          </p:cNvPr>
          <p:cNvGrpSpPr>
            <a:grpSpLocks/>
          </p:cNvGrpSpPr>
          <p:nvPr/>
        </p:nvGrpSpPr>
        <p:grpSpPr>
          <a:xfrm>
            <a:off x="2631252" y="2029449"/>
            <a:ext cx="2656797" cy="1655629"/>
            <a:chOff x="1689126" y="3163300"/>
            <a:chExt cx="1992598" cy="1241722"/>
          </a:xfrm>
        </p:grpSpPr>
        <p:sp>
          <p:nvSpPr>
            <p:cNvPr id="17" name="Rectangle: Rounded Corners 16">
              <a:extLst>
                <a:ext uri="{FF2B5EF4-FFF2-40B4-BE49-F238E27FC236}">
                  <a16:creationId xmlns:a16="http://schemas.microsoft.com/office/drawing/2014/main" xmlns=""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xmlns="" id="{394D8737-1CA3-C18F-155A-3F82403D4E3B}"/>
                </a:ext>
              </a:extLst>
            </p:cNvPr>
            <p:cNvSpPr txBox="1">
              <a:spLocks/>
            </p:cNvSpPr>
            <p:nvPr/>
          </p:nvSpPr>
          <p:spPr>
            <a:xfrm>
              <a:off x="2130265" y="3516298"/>
              <a:ext cx="1409281" cy="438581"/>
            </a:xfrm>
            <a:prstGeom prst="rect">
              <a:avLst/>
            </a:prstGeom>
            <a:noFill/>
          </p:spPr>
          <p:txBody>
            <a:bodyPr wrap="none" rtlCol="0">
              <a:spAutoFit/>
            </a:bodyPr>
            <a:lstStyle/>
            <a:p>
              <a:r>
                <a:rPr lang="en-US" sz="2800" b="1" dirty="0">
                  <a:solidFill>
                    <a:srgbClr val="C00000"/>
                  </a:solidFill>
                  <a:ea typeface="Roboto"/>
                  <a:cs typeface="Roboto"/>
                  <a:sym typeface="Wingdings 3" panose="05040102010807070707" pitchFamily="18" charset="2"/>
                </a:rPr>
                <a:t>392</a:t>
              </a:r>
              <a:r>
                <a:rPr lang="en" sz="3200" b="1" dirty="0">
                  <a:solidFill>
                    <a:schemeClr val="accent6">
                      <a:lumMod val="50000"/>
                    </a:schemeClr>
                  </a:solidFill>
                  <a:ea typeface="Roboto"/>
                  <a:cs typeface="Roboto"/>
                  <a:sym typeface="Wingdings 3" panose="05040102010807070707" pitchFamily="18" charset="2"/>
                </a:rPr>
                <a:t> </a:t>
              </a:r>
              <a:r>
                <a:rPr lang="en" sz="1467"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xmlns=""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xmlns="" id="{0F9FC2CC-E142-6E69-C8D8-33B29DA66359}"/>
                </a:ext>
              </a:extLst>
            </p:cNvPr>
            <p:cNvSpPr txBox="1">
              <a:spLocks/>
            </p:cNvSpPr>
            <p:nvPr/>
          </p:nvSpPr>
          <p:spPr>
            <a:xfrm>
              <a:off x="2487334" y="4011325"/>
              <a:ext cx="620603" cy="300083"/>
            </a:xfrm>
            <a:prstGeom prst="rect">
              <a:avLst/>
            </a:prstGeom>
            <a:noFill/>
          </p:spPr>
          <p:txBody>
            <a:bodyPr wrap="none" rtlCol="0">
              <a:spAutoFit/>
            </a:bodyPr>
            <a:lstStyle/>
            <a:p>
              <a:r>
                <a:rPr lang="en-US" sz="2000" b="1" dirty="0">
                  <a:solidFill>
                    <a:schemeClr val="accent6">
                      <a:lumMod val="50000"/>
                    </a:schemeClr>
                  </a:solidFill>
                  <a:ea typeface="Roboto" panose="02000000000000000000" pitchFamily="2" charset="0"/>
                  <a:cs typeface="Roboto"/>
                  <a:sym typeface="Wingdings 3" panose="05040102010807070707" pitchFamily="18" charset="2"/>
                </a:rPr>
                <a:t>17,3</a:t>
              </a:r>
              <a:r>
                <a:rPr lang="en" sz="20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0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xmlns="" id="{4B2CFC84-8DFF-5F35-2AB4-7366F5A387B3}"/>
              </a:ext>
            </a:extLst>
          </p:cNvPr>
          <p:cNvSpPr>
            <a:spLocks/>
          </p:cNvSpPr>
          <p:nvPr/>
        </p:nvSpPr>
        <p:spPr>
          <a:xfrm>
            <a:off x="3402089" y="3253521"/>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xmlns="" id="{A056682A-FE84-E5E6-AC49-2B648878C1ED}"/>
              </a:ext>
            </a:extLst>
          </p:cNvPr>
          <p:cNvGrpSpPr>
            <a:grpSpLocks/>
          </p:cNvGrpSpPr>
          <p:nvPr/>
        </p:nvGrpSpPr>
        <p:grpSpPr>
          <a:xfrm>
            <a:off x="4981274" y="4266163"/>
            <a:ext cx="2592785" cy="1683379"/>
            <a:chOff x="3724249" y="3747130"/>
            <a:chExt cx="1944589" cy="1167660"/>
          </a:xfrm>
        </p:grpSpPr>
        <p:sp>
          <p:nvSpPr>
            <p:cNvPr id="13" name="Rectangle: Rounded Corners 12">
              <a:extLst>
                <a:ext uri="{FF2B5EF4-FFF2-40B4-BE49-F238E27FC236}">
                  <a16:creationId xmlns:a16="http://schemas.microsoft.com/office/drawing/2014/main" xmlns=""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xmlns="" id="{F63E7A46-F560-1E4C-2CD4-65FEB0E1A690}"/>
                </a:ext>
              </a:extLst>
            </p:cNvPr>
            <p:cNvSpPr txBox="1">
              <a:spLocks/>
            </p:cNvSpPr>
            <p:nvPr/>
          </p:nvSpPr>
          <p:spPr>
            <a:xfrm>
              <a:off x="3954330" y="3876701"/>
              <a:ext cx="1714508" cy="405624"/>
            </a:xfrm>
            <a:prstGeom prst="rect">
              <a:avLst/>
            </a:prstGeom>
            <a:noFill/>
          </p:spPr>
          <p:txBody>
            <a:bodyPr wrap="none" rtlCol="0">
              <a:spAutoFit/>
            </a:bodyPr>
            <a:lstStyle/>
            <a:p>
              <a:r>
                <a:rPr lang="vi-VN" sz="1600" b="1" spc="-31">
                  <a:ea typeface="Roboto"/>
                  <a:cs typeface="Roboto"/>
                  <a:sym typeface="Roboto"/>
                </a:rPr>
                <a:t>Tạm ngừng hoạt động</a:t>
              </a:r>
              <a:endParaRPr lang="en-US" sz="1600"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xmlns="" id="{A633A4AB-4B54-9DFF-1D3F-EE9B0A4D52DA}"/>
                </a:ext>
              </a:extLst>
            </p:cNvPr>
            <p:cNvSpPr txBox="1">
              <a:spLocks/>
            </p:cNvSpPr>
            <p:nvPr/>
          </p:nvSpPr>
          <p:spPr>
            <a:xfrm>
              <a:off x="3980630" y="4068655"/>
              <a:ext cx="1602843" cy="405624"/>
            </a:xfrm>
            <a:prstGeom prst="rect">
              <a:avLst/>
            </a:prstGeom>
            <a:noFill/>
          </p:spPr>
          <p:txBody>
            <a:bodyPr wrap="none" rtlCol="0">
              <a:spAutoFit/>
            </a:bodyPr>
            <a:lstStyle/>
            <a:p>
              <a:r>
                <a:rPr lang="en-US" sz="2800" b="1" dirty="0">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410</a:t>
              </a:r>
              <a:r>
                <a:rPr lang="en" sz="3200" b="1" dirty="0">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xmlns="" id="{FF2CE636-D24D-E952-D91A-2DC1573B5B0B}"/>
                </a:ext>
              </a:extLst>
            </p:cNvPr>
            <p:cNvSpPr txBox="1">
              <a:spLocks/>
            </p:cNvSpPr>
            <p:nvPr/>
          </p:nvSpPr>
          <p:spPr>
            <a:xfrm>
              <a:off x="4548759" y="4555768"/>
              <a:ext cx="620603" cy="277533"/>
            </a:xfrm>
            <a:prstGeom prst="rect">
              <a:avLst/>
            </a:prstGeom>
            <a:noFill/>
          </p:spPr>
          <p:txBody>
            <a:bodyPr wrap="none" rtlCol="0">
              <a:spAutoFit/>
            </a:bodyPr>
            <a:lstStyle/>
            <a:p>
              <a:r>
                <a:rPr lang="en-US" sz="2000" b="1">
                  <a:solidFill>
                    <a:schemeClr val="accent6">
                      <a:lumMod val="50000"/>
                    </a:schemeClr>
                  </a:solidFill>
                  <a:ea typeface="Roboto" panose="02000000000000000000" pitchFamily="2" charset="0"/>
                  <a:cs typeface="Roboto"/>
                  <a:sym typeface="Wingdings 3" panose="05040102010807070707" pitchFamily="18" charset="2"/>
                </a:rPr>
                <a:t>11,2</a:t>
              </a:r>
              <a:r>
                <a:rPr lang="en" sz="20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000" b="1" dirty="0">
                <a:solidFill>
                  <a:schemeClr val="accent6">
                    <a:lumMod val="50000"/>
                  </a:schemeClr>
                </a:solidFill>
              </a:endParaRPr>
            </a:p>
          </p:txBody>
        </p:sp>
        <p:sp>
          <p:nvSpPr>
            <p:cNvPr id="39" name="Isosceles Triangle 38">
              <a:extLst>
                <a:ext uri="{FF2B5EF4-FFF2-40B4-BE49-F238E27FC236}">
                  <a16:creationId xmlns:a16="http://schemas.microsoft.com/office/drawing/2014/main" xmlns="" id="{82096C86-54EA-BFDB-6C35-61A8AAB5E9E9}"/>
                </a:ext>
              </a:extLst>
            </p:cNvPr>
            <p:cNvSpPr>
              <a:spLocks/>
            </p:cNvSpPr>
            <p:nvPr/>
          </p:nvSpPr>
          <p:spPr>
            <a:xfrm>
              <a:off x="4286889" y="4602749"/>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40" name="Group 39">
            <a:extLst>
              <a:ext uri="{FF2B5EF4-FFF2-40B4-BE49-F238E27FC236}">
                <a16:creationId xmlns:a16="http://schemas.microsoft.com/office/drawing/2014/main" xmlns=""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xmlns=""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xmlns="" id="{533E850C-484F-6D85-E716-06C684F9ABA9}"/>
                </a:ext>
              </a:extLst>
            </p:cNvPr>
            <p:cNvSpPr txBox="1">
              <a:spLocks/>
            </p:cNvSpPr>
            <p:nvPr/>
          </p:nvSpPr>
          <p:spPr>
            <a:xfrm>
              <a:off x="6085796" y="3275948"/>
              <a:ext cx="1231636" cy="428437"/>
            </a:xfrm>
            <a:prstGeom prst="rect">
              <a:avLst/>
            </a:prstGeom>
            <a:noFill/>
          </p:spPr>
          <p:txBody>
            <a:bodyPr wrap="none" rtlCol="0">
              <a:spAutoFit/>
            </a:bodyPr>
            <a:lstStyle/>
            <a:p>
              <a:pPr algn="ctr" defTabSz="914377">
                <a:defRPr/>
              </a:pPr>
              <a:r>
                <a:rPr lang="en-US" sz="1600" b="1">
                  <a:ea typeface="Roboto"/>
                  <a:cs typeface="Roboto"/>
                  <a:sym typeface="Roboto"/>
                </a:rPr>
                <a:t>Hoạt động trở lại</a:t>
              </a:r>
              <a:endParaRPr lang="en-US" sz="1600" b="1" dirty="0">
                <a:ea typeface="Roboto"/>
                <a:cs typeface="Roboto"/>
                <a:sym typeface="Roboto"/>
              </a:endParaRPr>
            </a:p>
            <a:p>
              <a:endParaRPr lang="en-US" sz="1600" dirty="0"/>
            </a:p>
          </p:txBody>
        </p:sp>
        <p:sp>
          <p:nvSpPr>
            <p:cNvPr id="44" name="TextBox 43">
              <a:extLst>
                <a:ext uri="{FF2B5EF4-FFF2-40B4-BE49-F238E27FC236}">
                  <a16:creationId xmlns:a16="http://schemas.microsoft.com/office/drawing/2014/main" xmlns="" id="{5E1839A1-AF45-017F-DFD1-C34DB517EE3A}"/>
                </a:ext>
              </a:extLst>
            </p:cNvPr>
            <p:cNvSpPr txBox="1">
              <a:spLocks/>
            </p:cNvSpPr>
            <p:nvPr/>
          </p:nvSpPr>
          <p:spPr>
            <a:xfrm>
              <a:off x="6502148" y="4016499"/>
              <a:ext cx="620603" cy="293142"/>
            </a:xfrm>
            <a:prstGeom prst="rect">
              <a:avLst/>
            </a:prstGeom>
            <a:noFill/>
          </p:spPr>
          <p:txBody>
            <a:bodyPr wrap="none" rtlCol="0">
              <a:spAutoFit/>
            </a:bodyPr>
            <a:lstStyle/>
            <a:p>
              <a:r>
                <a:rPr lang="en-US" sz="2000" b="1">
                  <a:solidFill>
                    <a:schemeClr val="accent6">
                      <a:lumMod val="50000"/>
                    </a:schemeClr>
                  </a:solidFill>
                  <a:ea typeface="Roboto" panose="02000000000000000000" pitchFamily="2" charset="0"/>
                  <a:cs typeface="Roboto"/>
                  <a:sym typeface="Wingdings 3" panose="05040102010807070707" pitchFamily="18" charset="2"/>
                </a:rPr>
                <a:t>26,7</a:t>
              </a:r>
              <a:r>
                <a:rPr lang="en" sz="20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000" b="1" dirty="0">
                <a:solidFill>
                  <a:schemeClr val="accent6">
                    <a:lumMod val="50000"/>
                  </a:schemeClr>
                </a:solidFill>
              </a:endParaRPr>
            </a:p>
          </p:txBody>
        </p:sp>
      </p:grpSp>
      <p:grpSp>
        <p:nvGrpSpPr>
          <p:cNvPr id="45" name="Group 44">
            <a:extLst>
              <a:ext uri="{FF2B5EF4-FFF2-40B4-BE49-F238E27FC236}">
                <a16:creationId xmlns:a16="http://schemas.microsoft.com/office/drawing/2014/main" xmlns="" id="{06271152-2A41-D1BC-EC51-7E4D229A886C}"/>
              </a:ext>
            </a:extLst>
          </p:cNvPr>
          <p:cNvGrpSpPr>
            <a:grpSpLocks/>
          </p:cNvGrpSpPr>
          <p:nvPr/>
        </p:nvGrpSpPr>
        <p:grpSpPr>
          <a:xfrm>
            <a:off x="1676224" y="4266162"/>
            <a:ext cx="2651270" cy="1655629"/>
            <a:chOff x="1689126" y="3163300"/>
            <a:chExt cx="1988453" cy="1241722"/>
          </a:xfrm>
        </p:grpSpPr>
        <p:sp>
          <p:nvSpPr>
            <p:cNvPr id="46" name="Rectangle: Rounded Corners 45">
              <a:extLst>
                <a:ext uri="{FF2B5EF4-FFF2-40B4-BE49-F238E27FC236}">
                  <a16:creationId xmlns:a16="http://schemas.microsoft.com/office/drawing/2014/main" xmlns="" id="{DAD5D991-4CEF-4143-52FE-FD87F16E38D8}"/>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xmlns="" id="{615E2FF8-44B4-E5D2-386A-D270D5A07DA1}"/>
                </a:ext>
              </a:extLst>
            </p:cNvPr>
            <p:cNvSpPr txBox="1">
              <a:spLocks/>
            </p:cNvSpPr>
            <p:nvPr/>
          </p:nvSpPr>
          <p:spPr>
            <a:xfrm>
              <a:off x="2130265" y="3516298"/>
              <a:ext cx="1272224" cy="438581"/>
            </a:xfrm>
            <a:prstGeom prst="rect">
              <a:avLst/>
            </a:prstGeom>
            <a:noFill/>
          </p:spPr>
          <p:txBody>
            <a:bodyPr wrap="none" rtlCol="0">
              <a:spAutoFit/>
            </a:bodyPr>
            <a:lstStyle/>
            <a:p>
              <a:r>
                <a:rPr lang="en-US" sz="2800" b="1" dirty="0">
                  <a:solidFill>
                    <a:srgbClr val="C00000"/>
                  </a:solidFill>
                  <a:ea typeface="Roboto"/>
                  <a:cs typeface="Roboto"/>
                  <a:sym typeface="Wingdings 3" panose="05040102010807070707" pitchFamily="18" charset="2"/>
                </a:rPr>
                <a:t>19</a:t>
              </a:r>
              <a:r>
                <a:rPr lang="en" sz="3200" b="1" dirty="0">
                  <a:solidFill>
                    <a:schemeClr val="accent6">
                      <a:lumMod val="50000"/>
                    </a:schemeClr>
                  </a:solidFill>
                  <a:ea typeface="Roboto"/>
                  <a:cs typeface="Roboto"/>
                  <a:sym typeface="Wingdings 3" panose="05040102010807070707" pitchFamily="18" charset="2"/>
                </a:rPr>
                <a:t> </a:t>
              </a:r>
              <a:r>
                <a:rPr lang="en" sz="1467"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xmlns="" id="{7D127646-423A-8F39-6355-BB4B258FA23E}"/>
                </a:ext>
              </a:extLst>
            </p:cNvPr>
            <p:cNvSpPr txBox="1">
              <a:spLocks/>
            </p:cNvSpPr>
            <p:nvPr/>
          </p:nvSpPr>
          <p:spPr>
            <a:xfrm>
              <a:off x="2405397" y="3306018"/>
              <a:ext cx="614250" cy="438581"/>
            </a:xfrm>
            <a:prstGeom prst="rect">
              <a:avLst/>
            </a:prstGeom>
            <a:noFill/>
          </p:spPr>
          <p:txBody>
            <a:bodyPr wrap="square" rtlCol="0">
              <a:spAutoFit/>
            </a:bodyPr>
            <a:lstStyle/>
            <a:p>
              <a:r>
                <a:rPr lang="en-US" sz="1600" b="1" spc="-31">
                  <a:ea typeface="Roboto"/>
                  <a:cs typeface="Roboto"/>
                  <a:sym typeface="Roboto"/>
                </a:rPr>
                <a:t>Giải thể</a:t>
              </a:r>
              <a:endParaRPr lang="en-US" sz="1600" b="1" spc="-31" dirty="0">
                <a:ea typeface="Roboto"/>
                <a:cs typeface="Roboto"/>
                <a:sym typeface="Roboto"/>
              </a:endParaRPr>
            </a:p>
            <a:p>
              <a:endParaRPr lang="en-US" sz="1600" dirty="0"/>
            </a:p>
          </p:txBody>
        </p:sp>
        <p:sp>
          <p:nvSpPr>
            <p:cNvPr id="49" name="TextBox 48">
              <a:extLst>
                <a:ext uri="{FF2B5EF4-FFF2-40B4-BE49-F238E27FC236}">
                  <a16:creationId xmlns:a16="http://schemas.microsoft.com/office/drawing/2014/main" xmlns="" id="{AD11AB72-0225-23FC-63B7-476A1B443B45}"/>
                </a:ext>
              </a:extLst>
            </p:cNvPr>
            <p:cNvSpPr txBox="1">
              <a:spLocks/>
            </p:cNvSpPr>
            <p:nvPr/>
          </p:nvSpPr>
          <p:spPr>
            <a:xfrm>
              <a:off x="2487334" y="4011325"/>
              <a:ext cx="620603" cy="300083"/>
            </a:xfrm>
            <a:prstGeom prst="rect">
              <a:avLst/>
            </a:prstGeom>
            <a:noFill/>
          </p:spPr>
          <p:txBody>
            <a:bodyPr wrap="none" rtlCol="0">
              <a:spAutoFit/>
            </a:bodyPr>
            <a:lstStyle/>
            <a:p>
              <a:r>
                <a:rPr lang="en-US" sz="2000" b="1">
                  <a:solidFill>
                    <a:schemeClr val="accent6">
                      <a:lumMod val="50000"/>
                    </a:schemeClr>
                  </a:solidFill>
                  <a:ea typeface="Roboto" panose="02000000000000000000" pitchFamily="2" charset="0"/>
                  <a:cs typeface="Roboto"/>
                  <a:sym typeface="Wingdings 3" panose="05040102010807070707" pitchFamily="18" charset="2"/>
                </a:rPr>
                <a:t>14,3</a:t>
              </a:r>
              <a:r>
                <a:rPr lang="en" sz="20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000" b="1" dirty="0">
                <a:solidFill>
                  <a:schemeClr val="accent6">
                    <a:lumMod val="50000"/>
                  </a:schemeClr>
                </a:solidFill>
              </a:endParaRPr>
            </a:p>
          </p:txBody>
        </p:sp>
      </p:grpSp>
      <p:sp>
        <p:nvSpPr>
          <p:cNvPr id="50" name="Flowchart: Merge 49">
            <a:extLst>
              <a:ext uri="{FF2B5EF4-FFF2-40B4-BE49-F238E27FC236}">
                <a16:creationId xmlns:a16="http://schemas.microsoft.com/office/drawing/2014/main" xmlns="" id="{8A744C20-0ECB-9A9D-DF51-D7AFAE74AADE}"/>
              </a:ext>
            </a:extLst>
          </p:cNvPr>
          <p:cNvSpPr>
            <a:spLocks/>
          </p:cNvSpPr>
          <p:nvPr/>
        </p:nvSpPr>
        <p:spPr>
          <a:xfrm>
            <a:off x="2472582" y="5515833"/>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Flowchart: Merge 50">
            <a:extLst>
              <a:ext uri="{FF2B5EF4-FFF2-40B4-BE49-F238E27FC236}">
                <a16:creationId xmlns:a16="http://schemas.microsoft.com/office/drawing/2014/main" xmlns="" id="{E85CDCBD-F823-98C8-7D39-4BD8ECC3B707}"/>
              </a:ext>
            </a:extLst>
          </p:cNvPr>
          <p:cNvSpPr>
            <a:spLocks/>
          </p:cNvSpPr>
          <p:nvPr/>
        </p:nvSpPr>
        <p:spPr>
          <a:xfrm>
            <a:off x="9014191" y="5521440"/>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 name="TextBox 52">
            <a:extLst>
              <a:ext uri="{FF2B5EF4-FFF2-40B4-BE49-F238E27FC236}">
                <a16:creationId xmlns:a16="http://schemas.microsoft.com/office/drawing/2014/main" xmlns="" id="{940E7436-8D16-138B-2BFE-178612083DAB}"/>
              </a:ext>
            </a:extLst>
          </p:cNvPr>
          <p:cNvSpPr txBox="1">
            <a:spLocks/>
          </p:cNvSpPr>
          <p:nvPr/>
        </p:nvSpPr>
        <p:spPr>
          <a:xfrm>
            <a:off x="8488088" y="4729695"/>
            <a:ext cx="2137124" cy="584775"/>
          </a:xfrm>
          <a:prstGeom prst="rect">
            <a:avLst/>
          </a:prstGeom>
          <a:noFill/>
        </p:spPr>
        <p:txBody>
          <a:bodyPr wrap="none" rtlCol="0">
            <a:spAutoFit/>
          </a:bodyPr>
          <a:lstStyle/>
          <a:p>
            <a:r>
              <a:rPr lang="en-US" sz="2800" b="1" dirty="0">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80</a:t>
            </a:r>
            <a:r>
              <a:rPr lang="en" sz="3200" b="1" dirty="0">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xmlns="" id="{F9FD27AF-4E01-77E9-3CC9-56F324CD8F16}"/>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3" name="Straight Connector 2">
            <a:extLst>
              <a:ext uri="{FF2B5EF4-FFF2-40B4-BE49-F238E27FC236}">
                <a16:creationId xmlns:a16="http://schemas.microsoft.com/office/drawing/2014/main" xmlns="" id="{ADD22AB5-997A-438C-90CE-9E3E978696C3}"/>
              </a:ext>
            </a:extLst>
          </p:cNvPr>
          <p:cNvCxnSpPr>
            <a:cxnSpLocks/>
          </p:cNvCxnSpPr>
          <p:nvPr/>
        </p:nvCxnSpPr>
        <p:spPr>
          <a:xfrm>
            <a:off x="777362" y="524236"/>
            <a:ext cx="832469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xmlns="" id="{84E678B1-5987-B741-9399-D29A2D84E308}"/>
              </a:ext>
            </a:extLst>
          </p:cNvPr>
          <p:cNvSpPr/>
          <p:nvPr/>
        </p:nvSpPr>
        <p:spPr>
          <a:xfrm>
            <a:off x="1119325" y="640147"/>
            <a:ext cx="666304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14" name="Flowchart: Merge 13">
            <a:extLst>
              <a:ext uri="{FF2B5EF4-FFF2-40B4-BE49-F238E27FC236}">
                <a16:creationId xmlns:a16="http://schemas.microsoft.com/office/drawing/2014/main" xmlns="" id="{3BB21231-19D0-3C3C-817D-946F318BECDB}"/>
              </a:ext>
            </a:extLst>
          </p:cNvPr>
          <p:cNvSpPr>
            <a:spLocks/>
          </p:cNvSpPr>
          <p:nvPr/>
        </p:nvSpPr>
        <p:spPr>
          <a:xfrm>
            <a:off x="7650218" y="32025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1396377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777362" y="524236"/>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167620" y="759728"/>
            <a:ext cx="23025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6. Môi trườ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xmlns="" id="{82C4588D-3749-0059-55C6-FBEDB09E480D}"/>
              </a:ext>
            </a:extLst>
          </p:cNvPr>
          <p:cNvGraphicFramePr>
            <a:graphicFrameLocks noGrp="1"/>
          </p:cNvGraphicFramePr>
          <p:nvPr>
            <p:extLst>
              <p:ext uri="{D42A27DB-BD31-4B8C-83A1-F6EECF244321}">
                <p14:modId xmlns:p14="http://schemas.microsoft.com/office/powerpoint/2010/main" val="2014547995"/>
              </p:ext>
            </p:extLst>
          </p:nvPr>
        </p:nvGraphicFramePr>
        <p:xfrm>
          <a:off x="6675539" y="1243604"/>
          <a:ext cx="5004033" cy="5090160"/>
        </p:xfrm>
        <a:graphic>
          <a:graphicData uri="http://schemas.openxmlformats.org/drawingml/2006/table">
            <a:tbl>
              <a:tblPr firstRow="1" bandRow="1"/>
              <a:tblGrid>
                <a:gridCol w="5004033">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600" b="0" kern="1200">
                          <a:solidFill>
                            <a:schemeClr val="dk1"/>
                          </a:solidFill>
                          <a:effectLst/>
                          <a:latin typeface="Times New Roman" panose="02020603050405020304" pitchFamily="18" charset="0"/>
                          <a:ea typeface="+mn-ea"/>
                          <a:cs typeface="Times New Roman" panose="02020603050405020304" pitchFamily="18" charset="0"/>
                        </a:rPr>
                        <a:t>Các huyện Phù Cát, Phù Mỹ, Vân Canh, Vĩnh Thạnh số liệu báo cáo tỷ lệ thu gom rác đều vượt tỷ lệ được giao cả năm, tuy nhiên các địa phương này chưa tăng tần suất thu gom, chưa mở rộng địa bàn thu </a:t>
                      </a:r>
                      <a:endParaRPr lang="vi-VN" sz="16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600" b="0" kern="1200">
                          <a:solidFill>
                            <a:schemeClr val="dk1"/>
                          </a:solidFill>
                          <a:effectLst/>
                          <a:latin typeface="Times New Roman" panose="02020603050405020304" pitchFamily="18" charset="0"/>
                          <a:ea typeface="+mn-ea"/>
                          <a:cs typeface="Times New Roman" panose="02020603050405020304" pitchFamily="18" charset="0"/>
                        </a:rPr>
                        <a:t>Trong quý I, thời điểm dịp lễ tết, các địa phương tăng chuyến, ngày thu gom nên tỷ lệ thu gom rác nói chung, trong đó có lượng rác đô thị tăng</a:t>
                      </a:r>
                      <a:r>
                        <a:rPr lang="vi-VN" sz="16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Tăng tần suất thu gom: </a:t>
                      </a:r>
                      <a:r>
                        <a:rPr lang="en-US" sz="1600" b="0" kern="1200">
                          <a:solidFill>
                            <a:schemeClr val="dk1"/>
                          </a:solidFill>
                          <a:effectLst/>
                          <a:latin typeface="Times New Roman" panose="02020603050405020304" pitchFamily="18" charset="0"/>
                          <a:ea typeface="+mn-ea"/>
                          <a:cs typeface="Times New Roman" panose="02020603050405020304" pitchFamily="18" charset="0"/>
                        </a:rPr>
                        <a:t>Tuy Phước đã tăng tần suất thu gom</a:t>
                      </a:r>
                      <a:r>
                        <a:rPr lang="vi-VN" sz="1600" b="0" kern="1200">
                          <a:solidFill>
                            <a:schemeClr val="dk1"/>
                          </a:solidFill>
                          <a:effectLst/>
                          <a:latin typeface="Times New Roman" panose="02020603050405020304" pitchFamily="18" charset="0"/>
                          <a:ea typeface="+mn-ea"/>
                          <a:cs typeface="Times New Roman" panose="02020603050405020304" pitchFamily="18" charset="0"/>
                        </a:rPr>
                        <a:t> thêm 1 lần/tuần (đã đạt 6</a:t>
                      </a:r>
                      <a:r>
                        <a:rPr lang="en-US" sz="1600" b="0" kern="1200">
                          <a:solidFill>
                            <a:schemeClr val="dk1"/>
                          </a:solidFill>
                          <a:effectLst/>
                          <a:latin typeface="Times New Roman" panose="02020603050405020304" pitchFamily="18" charset="0"/>
                          <a:ea typeface="+mn-ea"/>
                          <a:cs typeface="Times New Roman" panose="02020603050405020304" pitchFamily="18" charset="0"/>
                        </a:rPr>
                        <a:t> lần/tuần</a:t>
                      </a:r>
                      <a:r>
                        <a:rPr lang="vi-VN" sz="1600" b="0" kern="1200">
                          <a:solidFill>
                            <a:schemeClr val="dk1"/>
                          </a:solidFill>
                          <a:effectLst/>
                          <a:latin typeface="Times New Roman" panose="02020603050405020304" pitchFamily="18" charset="0"/>
                          <a:ea typeface="+mn-ea"/>
                          <a:cs typeface="Times New Roman" panose="02020603050405020304" pitchFamily="18" charset="0"/>
                        </a:rPr>
                        <a:t> tại thị trấn và 3 lần/tuần tại nông thôn). C</a:t>
                      </a:r>
                      <a:r>
                        <a:rPr lang="en-US" sz="1600" b="0" kern="1200">
                          <a:solidFill>
                            <a:schemeClr val="dk1"/>
                          </a:solidFill>
                          <a:effectLst/>
                          <a:latin typeface="Times New Roman" panose="02020603050405020304" pitchFamily="18" charset="0"/>
                          <a:ea typeface="+mn-ea"/>
                          <a:cs typeface="Times New Roman" panose="02020603050405020304" pitchFamily="18" charset="0"/>
                        </a:rPr>
                        <a:t>ác địa phương</a:t>
                      </a:r>
                      <a:r>
                        <a:rPr lang="vi-VN" sz="1600" b="0" kern="1200">
                          <a:solidFill>
                            <a:schemeClr val="dk1"/>
                          </a:solidFill>
                          <a:effectLst/>
                          <a:latin typeface="Times New Roman" panose="02020603050405020304" pitchFamily="18" charset="0"/>
                          <a:ea typeface="+mn-ea"/>
                          <a:cs typeface="Times New Roman" panose="02020603050405020304" pitchFamily="18" charset="0"/>
                        </a:rPr>
                        <a:t> còn lại </a:t>
                      </a:r>
                      <a:r>
                        <a:rPr lang="en-US" sz="1600" b="0" kern="1200">
                          <a:solidFill>
                            <a:schemeClr val="dk1"/>
                          </a:solidFill>
                          <a:effectLst/>
                          <a:latin typeface="Times New Roman" panose="02020603050405020304" pitchFamily="18" charset="0"/>
                          <a:ea typeface="+mn-ea"/>
                          <a:cs typeface="Times New Roman" panose="02020603050405020304" pitchFamily="18" charset="0"/>
                        </a:rPr>
                        <a:t>chưa thực hiện</a:t>
                      </a:r>
                      <a:endParaRPr lang="vi-VN" sz="16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Rà soát, xây dựng Giá dịch vụ tối đa thu gom, xử lý rác thải đối với</a:t>
                      </a:r>
                      <a:r>
                        <a:rPr lang="en-US" sz="1600" b="0" kern="1200">
                          <a:solidFill>
                            <a:schemeClr val="dk1"/>
                          </a:solidFill>
                          <a:effectLst/>
                          <a:latin typeface="Times New Roman" panose="02020603050405020304" pitchFamily="18" charset="0"/>
                          <a:ea typeface="+mn-ea"/>
                          <a:cs typeface="Times New Roman" panose="02020603050405020304" pitchFamily="18" charset="0"/>
                        </a:rPr>
                        <a:t> người </a:t>
                      </a:r>
                      <a:r>
                        <a:rPr lang="vi-VN" sz="1600" b="0" kern="1200">
                          <a:solidFill>
                            <a:schemeClr val="dk1"/>
                          </a:solidFill>
                          <a:effectLst/>
                          <a:latin typeface="Times New Roman" panose="02020603050405020304" pitchFamily="18" charset="0"/>
                          <a:ea typeface="+mn-ea"/>
                          <a:cs typeface="Times New Roman" panose="02020603050405020304" pitchFamily="18" charset="0"/>
                        </a:rPr>
                        <a:t>dân: 8/11 địa phương đã xây dựng và đang gửi Sở Tài chính để góp ý, thẩm định, (còn 3 huyện Vân Canh, Vĩnh Thạnh, Hoài Â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Có </a:t>
                      </a:r>
                      <a:r>
                        <a:rPr lang="en-US" sz="1600" b="0" kern="1200">
                          <a:solidFill>
                            <a:schemeClr val="dk1"/>
                          </a:solidFill>
                          <a:effectLst/>
                          <a:latin typeface="Times New Roman" panose="02020603050405020304" pitchFamily="18" charset="0"/>
                          <a:ea typeface="+mn-ea"/>
                          <a:cs typeface="Times New Roman" panose="02020603050405020304" pitchFamily="18" charset="0"/>
                        </a:rPr>
                        <a:t>04</a:t>
                      </a:r>
                      <a:r>
                        <a:rPr lang="vi-VN" sz="1600" b="0" kern="1200">
                          <a:solidFill>
                            <a:schemeClr val="dk1"/>
                          </a:solidFill>
                          <a:effectLst/>
                          <a:latin typeface="Times New Roman" panose="02020603050405020304" pitchFamily="18" charset="0"/>
                          <a:ea typeface="+mn-ea"/>
                          <a:cs typeface="Times New Roman" panose="02020603050405020304" pitchFamily="18" charset="0"/>
                        </a:rPr>
                        <a:t>/11 địa phương (Vân Canh, Phù cát, </a:t>
                      </a:r>
                      <a:r>
                        <a:rPr lang="en-US" sz="1600" b="0" kern="1200">
                          <a:solidFill>
                            <a:schemeClr val="dk1"/>
                          </a:solidFill>
                          <a:effectLst/>
                          <a:latin typeface="Times New Roman" panose="02020603050405020304" pitchFamily="18" charset="0"/>
                          <a:ea typeface="+mn-ea"/>
                          <a:cs typeface="Times New Roman" panose="02020603050405020304" pitchFamily="18" charset="0"/>
                        </a:rPr>
                        <a:t>Hoài Ân, </a:t>
                      </a:r>
                      <a:r>
                        <a:rPr lang="vi-VN" sz="1600" b="0" kern="1200">
                          <a:solidFill>
                            <a:schemeClr val="dk1"/>
                          </a:solidFill>
                          <a:effectLst/>
                          <a:latin typeface="Times New Roman" panose="02020603050405020304" pitchFamily="18" charset="0"/>
                          <a:ea typeface="+mn-ea"/>
                          <a:cs typeface="Times New Roman" panose="02020603050405020304" pitchFamily="18" charset="0"/>
                        </a:rPr>
                        <a:t>Quy Nhơn) đã phân bổ kinh phí cụ thể cho cấp xã và/hoặc đơn vị thu gom rác.</a:t>
                      </a:r>
                      <a:endParaRPr lang="vi-VN" sz="16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graphicFrame>
        <p:nvGraphicFramePr>
          <p:cNvPr id="5" name="Table 4">
            <a:extLst>
              <a:ext uri="{FF2B5EF4-FFF2-40B4-BE49-F238E27FC236}">
                <a16:creationId xmlns:a16="http://schemas.microsoft.com/office/drawing/2014/main" xmlns="" id="{D4733397-8FF2-80FF-D00F-621F860BECF6}"/>
              </a:ext>
            </a:extLst>
          </p:cNvPr>
          <p:cNvGraphicFramePr>
            <a:graphicFrameLocks noGrp="1"/>
          </p:cNvGraphicFramePr>
          <p:nvPr>
            <p:extLst>
              <p:ext uri="{D42A27DB-BD31-4B8C-83A1-F6EECF244321}">
                <p14:modId xmlns:p14="http://schemas.microsoft.com/office/powerpoint/2010/main" val="2545566408"/>
              </p:ext>
            </p:extLst>
          </p:nvPr>
        </p:nvGraphicFramePr>
        <p:xfrm>
          <a:off x="360727" y="1285106"/>
          <a:ext cx="6233023" cy="5283476"/>
        </p:xfrm>
        <a:graphic>
          <a:graphicData uri="http://schemas.openxmlformats.org/drawingml/2006/table">
            <a:tbl>
              <a:tblPr firstRow="1" firstCol="1" bandRow="1"/>
              <a:tblGrid>
                <a:gridCol w="335559">
                  <a:extLst>
                    <a:ext uri="{9D8B030D-6E8A-4147-A177-3AD203B41FA5}">
                      <a16:colId xmlns:a16="http://schemas.microsoft.com/office/drawing/2014/main" xmlns="" val="4253239001"/>
                    </a:ext>
                  </a:extLst>
                </a:gridCol>
                <a:gridCol w="815247">
                  <a:extLst>
                    <a:ext uri="{9D8B030D-6E8A-4147-A177-3AD203B41FA5}">
                      <a16:colId xmlns:a16="http://schemas.microsoft.com/office/drawing/2014/main" xmlns="" val="2457810235"/>
                    </a:ext>
                  </a:extLst>
                </a:gridCol>
                <a:gridCol w="611252">
                  <a:extLst>
                    <a:ext uri="{9D8B030D-6E8A-4147-A177-3AD203B41FA5}">
                      <a16:colId xmlns:a16="http://schemas.microsoft.com/office/drawing/2014/main" xmlns="" val="3235390705"/>
                    </a:ext>
                  </a:extLst>
                </a:gridCol>
                <a:gridCol w="611252">
                  <a:extLst>
                    <a:ext uri="{9D8B030D-6E8A-4147-A177-3AD203B41FA5}">
                      <a16:colId xmlns:a16="http://schemas.microsoft.com/office/drawing/2014/main" xmlns="" val="2460143663"/>
                    </a:ext>
                  </a:extLst>
                </a:gridCol>
                <a:gridCol w="611252">
                  <a:extLst>
                    <a:ext uri="{9D8B030D-6E8A-4147-A177-3AD203B41FA5}">
                      <a16:colId xmlns:a16="http://schemas.microsoft.com/office/drawing/2014/main" xmlns="" val="1013460490"/>
                    </a:ext>
                  </a:extLst>
                </a:gridCol>
                <a:gridCol w="611252">
                  <a:extLst>
                    <a:ext uri="{9D8B030D-6E8A-4147-A177-3AD203B41FA5}">
                      <a16:colId xmlns:a16="http://schemas.microsoft.com/office/drawing/2014/main" xmlns="" val="1095411676"/>
                    </a:ext>
                  </a:extLst>
                </a:gridCol>
                <a:gridCol w="611252">
                  <a:extLst>
                    <a:ext uri="{9D8B030D-6E8A-4147-A177-3AD203B41FA5}">
                      <a16:colId xmlns:a16="http://schemas.microsoft.com/office/drawing/2014/main" xmlns="" val="2975960538"/>
                    </a:ext>
                  </a:extLst>
                </a:gridCol>
                <a:gridCol w="712940">
                  <a:extLst>
                    <a:ext uri="{9D8B030D-6E8A-4147-A177-3AD203B41FA5}">
                      <a16:colId xmlns:a16="http://schemas.microsoft.com/office/drawing/2014/main" xmlns="" val="1082849643"/>
                    </a:ext>
                  </a:extLst>
                </a:gridCol>
                <a:gridCol w="712940">
                  <a:extLst>
                    <a:ext uri="{9D8B030D-6E8A-4147-A177-3AD203B41FA5}">
                      <a16:colId xmlns:a16="http://schemas.microsoft.com/office/drawing/2014/main" xmlns="" val="3274678288"/>
                    </a:ext>
                  </a:extLst>
                </a:gridCol>
                <a:gridCol w="600077">
                  <a:extLst>
                    <a:ext uri="{9D8B030D-6E8A-4147-A177-3AD203B41FA5}">
                      <a16:colId xmlns:a16="http://schemas.microsoft.com/office/drawing/2014/main" xmlns="" val="2951642633"/>
                    </a:ext>
                  </a:extLst>
                </a:gridCol>
              </a:tblGrid>
              <a:tr h="317444">
                <a:tc rowSpan="2">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T</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Địa phương</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Năm 2022 (theo Kế hoạch quản lý CTR tỉnh)</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endParaRPr lang="vi-VN"/>
                    </a:p>
                  </a:txBody>
                  <a:tcPr/>
                </a:tc>
                <a:tc gridSpan="3">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Quý I/2023 (do địa phương </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ung cấp)</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endParaRPr lang="vi-VN"/>
                    </a:p>
                  </a:txBody>
                  <a:tcPr/>
                </a:tc>
                <a:tc gridSpan="2">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hỉ tiêu tỷ lệ thu gom CTR đô thị</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extLst>
                  <a:ext uri="{0D108BD9-81ED-4DB2-BD59-A6C34878D82A}">
                    <a16:rowId xmlns:a16="http://schemas.microsoft.com/office/drawing/2014/main" xmlns="" val="796197151"/>
                  </a:ext>
                </a:extLst>
              </a:tr>
              <a:tr h="789204">
                <a:tc vMerge="1">
                  <a:txBody>
                    <a:bodyPr/>
                    <a:lstStyle/>
                    <a:p>
                      <a:endParaRPr lang="vi-VN"/>
                    </a:p>
                  </a:txBody>
                  <a:tcPr/>
                </a:tc>
                <a:tc vMerge="1">
                  <a:txBody>
                    <a:bodyPr/>
                    <a:lstStyle/>
                    <a:p>
                      <a:endParaRPr lang="vi-VN"/>
                    </a:p>
                  </a:txBody>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KL </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hát sinh (tấn/ngày)</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KL thu gom (tấn/ngày)</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ỷ lệ thu gom (%)</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KL </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hát sinh (tấn/ngày)</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KL thu gom (tấn/ngày)</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ỷ lệ thu gom (%)</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hỉ tiêu của địa phương</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9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Chỉ tiêu tỉnh giao</a:t>
                      </a:r>
                      <a:endParaRPr lang="vi-VN" sz="10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7973058"/>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Quy Nhơn</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77,6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64,7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95,3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8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7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98,9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9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9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0482485"/>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n Nhơn</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7,6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9,7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6,2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2,5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4,8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7,60</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00</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27124309"/>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Hoài Nhơn</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09,9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2,3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5,7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09,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4,5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8,1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16600357"/>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hù Cát(*)</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7,0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1,0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4,7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3,7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8,0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5,8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0</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77025813"/>
                  </a:ext>
                </a:extLst>
              </a:tr>
              <a:tr h="468378">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Phù Mỹ (*) </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9,8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5,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0,6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1,1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0</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0</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55407687"/>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uy Phước</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4,1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4,5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0,3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8,2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8,0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3,9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83336023"/>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ây Sơn</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7,9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3,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4,7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8,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3,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2,8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4909423"/>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Hoài Ân</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2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2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1,7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2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2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1,7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06429002"/>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9</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An Lão</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7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6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3,6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7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6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3,6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05077263"/>
                  </a:ext>
                </a:extLst>
              </a:tr>
              <a:tr h="468378">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0</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Vĩnh Thạnh (*)</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01</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3,4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9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2,4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2,8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96045295"/>
                  </a:ext>
                </a:extLst>
              </a:tr>
              <a:tr h="468378">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1</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Vân Canh (*)</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10,83</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4,6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94</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3,37</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8,22</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7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68</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29580290"/>
                  </a:ext>
                </a:extLst>
              </a:tr>
              <a:tr h="307966">
                <a:tc>
                  <a:txBody>
                    <a:bodyPr/>
                    <a:lstStyle/>
                    <a:p>
                      <a:pPr algn="ctr">
                        <a:lnSpc>
                          <a:spcPct val="115000"/>
                        </a:lnSpc>
                      </a:pPr>
                      <a:r>
                        <a:rPr lang="en-US" sz="11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1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Toàn tỉnh</a:t>
                      </a:r>
                      <a:endParaRPr lang="vi-VN"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46,7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51,5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4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2,59</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557,3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479,3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20000"/>
                        </a:lnSpc>
                      </a:pPr>
                      <a:r>
                        <a:rPr lang="en-US" sz="1400" b="1">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6</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85</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pPr>
                      <a:r>
                        <a:rPr lang="en-US"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vi-VN" sz="14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53411" marR="534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57905565"/>
                  </a:ext>
                </a:extLst>
              </a:tr>
            </a:tbl>
          </a:graphicData>
        </a:graphic>
      </p:graphicFrame>
    </p:spTree>
    <p:extLst>
      <p:ext uri="{BB962C8B-B14F-4D97-AF65-F5344CB8AC3E}">
        <p14:creationId xmlns:p14="http://schemas.microsoft.com/office/powerpoint/2010/main" val="3918079085"/>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777362" y="524236"/>
            <a:ext cx="8408583"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119325" y="589813"/>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093256142"/>
              </p:ext>
            </p:extLst>
          </p:nvPr>
        </p:nvGraphicFramePr>
        <p:xfrm>
          <a:off x="178965" y="1036320"/>
          <a:ext cx="7522127" cy="5516880"/>
        </p:xfrm>
        <a:graphic>
          <a:graphicData uri="http://schemas.openxmlformats.org/drawingml/2006/table">
            <a:tbl>
              <a:tblPr firstRow="1" bandRow="1"/>
              <a:tblGrid>
                <a:gridCol w="7522127">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Đã ban hành Kế hoạch tổ chức kỳ thi tốt nghiệp THPT năm 2023; xét tốt nghiệp THCS năm học 2022-2023 và tuyển sinh đầu cấp năm học 2023-2024</a:t>
                      </a:r>
                      <a:endParaRPr lang="nl-NL"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Về văn hóa: </a:t>
                      </a:r>
                      <a:r>
                        <a:rPr lang="vi-VN" sz="2000" b="0" kern="1200">
                          <a:solidFill>
                            <a:schemeClr val="dk1"/>
                          </a:solidFill>
                          <a:effectLst/>
                          <a:latin typeface="Times New Roman" panose="02020603050405020304" pitchFamily="18" charset="0"/>
                          <a:ea typeface="+mn-ea"/>
                          <a:cs typeface="Times New Roman" panose="02020603050405020304" pitchFamily="18" charset="0"/>
                        </a:rPr>
                        <a:t>Đã tổ chức lễ trao tặng danh hiệu Nghệ nhân Nhân dân, Nghệ nhân Ưu tú trong lĩnh vực di sản văn hóa phi vật thể lần thứ 3; đồng thời vinh danh tác giả đạt Giải thưởng Nhà nước về văn học, nghệ thuật và trao tặng Giải thưởng Đào Tấn - Xuân Diệu dành cho văn học nghệ thuật tỉnh Bình Định lần thứ 6</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an sinh xã hội, chăm lo cho các đối tượng chính sách, đồng bào các dân tộc, vùng sâu, vùng xa, hải đảo tiếp tục được thực hiện</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nl-NL" sz="2000" b="0" kern="1200">
                          <a:solidFill>
                            <a:schemeClr val="dk1"/>
                          </a:solidFill>
                          <a:effectLst/>
                          <a:latin typeface="Times New Roman" panose="02020603050405020304" pitchFamily="18" charset="0"/>
                          <a:ea typeface="+mn-ea"/>
                          <a:cs typeface="Times New Roman" panose="02020603050405020304" pitchFamily="18" charset="0"/>
                        </a:rPr>
                        <a:t>iếp tục tập trung đẩy mạnh công tác phòng, chống</a:t>
                      </a:r>
                      <a:r>
                        <a:rPr lang="vi-VN" sz="2000" b="0" kern="1200">
                          <a:solidFill>
                            <a:schemeClr val="dk1"/>
                          </a:solidFill>
                          <a:effectLst/>
                          <a:latin typeface="Times New Roman" panose="02020603050405020304" pitchFamily="18" charset="0"/>
                          <a:ea typeface="+mn-ea"/>
                          <a:cs typeface="Times New Roman" panose="02020603050405020304" pitchFamily="18" charset="0"/>
                        </a:rPr>
                        <a:t> và tiêm </a:t>
                      </a:r>
                      <a:r>
                        <a:rPr lang="nl-NL" sz="2000" b="0" kern="1200">
                          <a:solidFill>
                            <a:schemeClr val="dk1"/>
                          </a:solidFill>
                          <a:effectLst/>
                          <a:latin typeface="Times New Roman" panose="02020603050405020304" pitchFamily="18" charset="0"/>
                          <a:ea typeface="+mn-ea"/>
                          <a:cs typeface="Times New Roman" panose="02020603050405020304" pitchFamily="18" charset="0"/>
                        </a:rPr>
                        <a:t>vắc-xin </a:t>
                      </a:r>
                      <a:r>
                        <a:rPr lang="vi-VN" sz="2000" b="0" kern="1200">
                          <a:solidFill>
                            <a:schemeClr val="dk1"/>
                          </a:solidFill>
                          <a:effectLst/>
                          <a:latin typeface="Times New Roman" panose="02020603050405020304" pitchFamily="18" charset="0"/>
                          <a:ea typeface="+mn-ea"/>
                          <a:cs typeface="Times New Roman" panose="02020603050405020304" pitchFamily="18" charset="0"/>
                        </a:rPr>
                        <a:t>phòng </a:t>
                      </a:r>
                      <a:r>
                        <a:rPr lang="nl-NL" sz="2000" b="0" kern="1200">
                          <a:solidFill>
                            <a:schemeClr val="dk1"/>
                          </a:solidFill>
                          <a:effectLst/>
                          <a:latin typeface="Times New Roman" panose="02020603050405020304" pitchFamily="18" charset="0"/>
                          <a:ea typeface="+mn-ea"/>
                          <a:cs typeface="Times New Roman" panose="02020603050405020304" pitchFamily="18" charset="0"/>
                        </a:rPr>
                        <a:t>Covid</a:t>
                      </a:r>
                      <a:r>
                        <a:rPr lang="vi-VN" sz="2000" b="0" kern="1200">
                          <a:solidFill>
                            <a:schemeClr val="dk1"/>
                          </a:solidFill>
                          <a:effectLst/>
                          <a:latin typeface="Times New Roman" panose="02020603050405020304" pitchFamily="18" charset="0"/>
                          <a:ea typeface="+mn-ea"/>
                          <a:cs typeface="Times New Roman" panose="02020603050405020304" pitchFamily="18" charset="0"/>
                        </a:rPr>
                        <a:t>-19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 Đã </a:t>
                      </a:r>
                      <a:r>
                        <a:rPr lang="en-US" sz="2000" b="0" kern="1200">
                          <a:solidFill>
                            <a:schemeClr val="dk1"/>
                          </a:solidFill>
                          <a:effectLst/>
                          <a:latin typeface="Times New Roman" panose="02020603050405020304" pitchFamily="18" charset="0"/>
                          <a:ea typeface="+mn-ea"/>
                          <a:cs typeface="Times New Roman" panose="02020603050405020304" pitchFamily="18" charset="0"/>
                        </a:rPr>
                        <a:t>thành lập Ban Chỉ đạo chuyển đổi số tỉnh Bình Định và thực hiện đánh giá chỉ số Chuyển đổi số cấp tỉnh năm 2022. Tiếp tục triển khai các nhiệm vụ, dự án đầu tư trang thiết bị tại Trung tâm giám sát, điều hành IOC </a:t>
                      </a:r>
                      <a:endParaRPr lang="en-US" sz="20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pic>
        <p:nvPicPr>
          <p:cNvPr id="2" name="Picture 1" descr="A picture containing tree, outdoor, dancer, person&#10;&#10;Description automatically generated">
            <a:extLst>
              <a:ext uri="{FF2B5EF4-FFF2-40B4-BE49-F238E27FC236}">
                <a16:creationId xmlns:a16="http://schemas.microsoft.com/office/drawing/2014/main" xmlns="" id="{A99A8BED-D9F8-C6E6-298A-EE3B8881B4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82822" y="3947160"/>
            <a:ext cx="4030211" cy="2375534"/>
          </a:xfrm>
          <a:prstGeom prst="rect">
            <a:avLst/>
          </a:prstGeom>
        </p:spPr>
      </p:pic>
      <p:pic>
        <p:nvPicPr>
          <p:cNvPr id="7" name="Picture 6" descr="A group of people on a stage&#10;&#10;Description automatically generated">
            <a:extLst>
              <a:ext uri="{FF2B5EF4-FFF2-40B4-BE49-F238E27FC236}">
                <a16:creationId xmlns:a16="http://schemas.microsoft.com/office/drawing/2014/main" xmlns="" id="{0492AE10-F947-D32E-A7BC-F6AB29544F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2822" y="1077912"/>
            <a:ext cx="4030211" cy="2684787"/>
          </a:xfrm>
          <a:prstGeom prst="rect">
            <a:avLst/>
          </a:prstGeom>
        </p:spPr>
      </p:pic>
    </p:spTree>
    <p:extLst>
      <p:ext uri="{BB962C8B-B14F-4D97-AF65-F5344CB8AC3E}">
        <p14:creationId xmlns:p14="http://schemas.microsoft.com/office/powerpoint/2010/main" val="2307671257"/>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777362" y="524236"/>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167620" y="759728"/>
            <a:ext cx="201337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Nội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xmlns="" id="{0FC7DBA8-03B5-1D5D-B7A1-68AA6F62DF7E}"/>
              </a:ext>
            </a:extLst>
          </p:cNvPr>
          <p:cNvGraphicFramePr>
            <a:graphicFrameLocks noGrp="1"/>
          </p:cNvGraphicFramePr>
          <p:nvPr>
            <p:extLst>
              <p:ext uri="{D42A27DB-BD31-4B8C-83A1-F6EECF244321}">
                <p14:modId xmlns:p14="http://schemas.microsoft.com/office/powerpoint/2010/main" val="863188283"/>
              </p:ext>
            </p:extLst>
          </p:nvPr>
        </p:nvGraphicFramePr>
        <p:xfrm>
          <a:off x="724456" y="1549269"/>
          <a:ext cx="10592293" cy="3627120"/>
        </p:xfrm>
        <a:graphic>
          <a:graphicData uri="http://schemas.openxmlformats.org/drawingml/2006/table">
            <a:tbl>
              <a:tblPr firstRow="1" bandRow="1"/>
              <a:tblGrid>
                <a:gridCol w="10592293">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Công tác tiếp dân và xử lý đơn thư khiếu nại, tố cáo thực hiện theo quy chế, giải quyết kịp thời các vụ việc bức xúc, khiếu kiện đông người</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công tác triển khai các kế hoạch bảo vệ các ngày Lễ lớn của tỉnh và cả nước được chú trọng</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1" i="1" spc="-10">
                          <a:solidFill>
                            <a:prstClr val="black"/>
                          </a:solidFill>
                          <a:latin typeface="Times New Roman" pitchFamily="18" charset="0"/>
                          <a:ea typeface="Times New Roman" panose="02020603050405020304" pitchFamily="18" charset="0"/>
                          <a:cs typeface="Times New Roman" pitchFamily="18" charset="0"/>
                        </a:rPr>
                        <a:t> </a:t>
                      </a:r>
                      <a:r>
                        <a:rPr lang="it-IT" sz="2400" b="0" i="0" spc="-10">
                          <a:solidFill>
                            <a:prstClr val="black"/>
                          </a:solidFill>
                          <a:latin typeface="Times New Roman" pitchFamily="18" charset="0"/>
                          <a:ea typeface="Times New Roman" panose="02020603050405020304" pitchFamily="18" charset="0"/>
                          <a:cs typeface="Times New Roman" pitchFamily="18" charset="0"/>
                        </a:rPr>
                        <a:t>Tình </a:t>
                      </a:r>
                      <a:r>
                        <a:rPr lang="it-IT" sz="2400" b="0" kern="1200">
                          <a:solidFill>
                            <a:schemeClr val="dk1"/>
                          </a:solidFill>
                          <a:effectLst/>
                          <a:latin typeface="Times New Roman" panose="02020603050405020304" pitchFamily="18" charset="0"/>
                          <a:ea typeface="+mn-ea"/>
                          <a:cs typeface="Times New Roman" panose="02020603050405020304" pitchFamily="18" charset="0"/>
                        </a:rPr>
                        <a:t>hình Tai nạn giao thông: </a:t>
                      </a:r>
                      <a:r>
                        <a:rPr lang="vi-VN" sz="2400" b="0" kern="1200">
                          <a:solidFill>
                            <a:schemeClr val="dk1"/>
                          </a:solidFill>
                          <a:effectLst/>
                          <a:latin typeface="Times New Roman" panose="02020603050405020304" pitchFamily="18" charset="0"/>
                          <a:ea typeface="+mn-ea"/>
                          <a:cs typeface="Times New Roman" panose="02020603050405020304" pitchFamily="18" charset="0"/>
                        </a:rPr>
                        <a:t>Trong 4 tháng đầu năm, trên địa bàn tỉnh đã xảy ra 43 vụ</a:t>
                      </a:r>
                      <a:r>
                        <a:rPr lang="en-US" sz="2400" b="0" kern="1200">
                          <a:solidFill>
                            <a:schemeClr val="dk1"/>
                          </a:solidFill>
                          <a:effectLst/>
                          <a:latin typeface="Times New Roman" panose="02020603050405020304" pitchFamily="18" charset="0"/>
                          <a:ea typeface="+mn-ea"/>
                          <a:cs typeface="Times New Roman" panose="02020603050405020304" pitchFamily="18" charset="0"/>
                        </a:rPr>
                        <a:t>, làm 31 người chết, 32 người bị thương. S</a:t>
                      </a:r>
                      <a:r>
                        <a:rPr lang="nl-NL" sz="2400" b="0" kern="1200">
                          <a:solidFill>
                            <a:schemeClr val="dk1"/>
                          </a:solidFill>
                          <a:effectLst/>
                          <a:latin typeface="Times New Roman" panose="02020603050405020304" pitchFamily="18" charset="0"/>
                          <a:ea typeface="+mn-ea"/>
                          <a:cs typeface="Times New Roman" panose="02020603050405020304" pitchFamily="18" charset="0"/>
                        </a:rPr>
                        <a:t>o với cùng kỳ giảm 04 vụ (-8,5%), giảm 12 người chết (-27,9%), tăng 14 người bị thương (+77,8%), </a:t>
                      </a:r>
                      <a:r>
                        <a:rPr lang="vi-VN" sz="2400" b="0" kern="1200">
                          <a:solidFill>
                            <a:schemeClr val="dk1"/>
                          </a:solidFill>
                          <a:effectLst/>
                          <a:latin typeface="Times New Roman" panose="02020603050405020304" pitchFamily="18" charset="0"/>
                          <a:ea typeface="+mn-ea"/>
                          <a:cs typeface="Times New Roman" panose="02020603050405020304" pitchFamily="18" charset="0"/>
                        </a:rPr>
                        <a:t>lỗi vi phạm chủ yếu vẫn là: vi phạm về tốc độ chiếm, đi không đúng làn đường, phần đường chiếm, thiếu chú ý quan sát, lỗi tránh, vượt xe,…</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spTree>
    <p:extLst>
      <p:ext uri="{BB962C8B-B14F-4D97-AF65-F5344CB8AC3E}">
        <p14:creationId xmlns:p14="http://schemas.microsoft.com/office/powerpoint/2010/main" val="2802465441"/>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16D24723-A233-03FF-2329-1817AB93339D}"/>
              </a:ext>
            </a:extLst>
          </p:cNvPr>
          <p:cNvSpPr txBox="1">
            <a:spLocks/>
          </p:cNvSpPr>
          <p:nvPr/>
        </p:nvSpPr>
        <p:spPr>
          <a:xfrm>
            <a:off x="668099" y="4606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I. KẾT QUẢ THỰC HIỆN 4 THÁNG ĐẦU NĂM 2023</a:t>
            </a:r>
          </a:p>
          <a:p>
            <a:pPr>
              <a:lnSpc>
                <a:spcPct val="100000"/>
              </a:lnSpc>
            </a:pPr>
            <a:endParaRPr lang="vi-VN" sz="2800" b="1" dirty="0">
              <a:solidFill>
                <a:srgbClr val="064273"/>
              </a:solidFill>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xmlns="" id="{FF705920-E1B4-B4D0-9EA4-A27AA5761577}"/>
              </a:ext>
            </a:extLst>
          </p:cNvPr>
          <p:cNvCxnSpPr>
            <a:cxnSpLocks/>
          </p:cNvCxnSpPr>
          <p:nvPr/>
        </p:nvCxnSpPr>
        <p:spPr>
          <a:xfrm>
            <a:off x="777362" y="524236"/>
            <a:ext cx="840019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01DC26C3-E6F4-C27A-8624-3A65D81B6008}"/>
              </a:ext>
            </a:extLst>
          </p:cNvPr>
          <p:cNvSpPr/>
          <p:nvPr/>
        </p:nvSpPr>
        <p:spPr>
          <a:xfrm>
            <a:off x="1167620" y="759728"/>
            <a:ext cx="2890215"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9</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Qu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hoạ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ỉ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xmlns="" id="{0FC7DBA8-03B5-1D5D-B7A1-68AA6F62DF7E}"/>
              </a:ext>
            </a:extLst>
          </p:cNvPr>
          <p:cNvGraphicFramePr>
            <a:graphicFrameLocks noGrp="1"/>
          </p:cNvGraphicFramePr>
          <p:nvPr>
            <p:extLst>
              <p:ext uri="{D42A27DB-BD31-4B8C-83A1-F6EECF244321}">
                <p14:modId xmlns:p14="http://schemas.microsoft.com/office/powerpoint/2010/main" val="2026710664"/>
              </p:ext>
            </p:extLst>
          </p:nvPr>
        </p:nvGraphicFramePr>
        <p:xfrm>
          <a:off x="777362" y="1381844"/>
          <a:ext cx="10592293" cy="5760720"/>
        </p:xfrm>
        <a:graphic>
          <a:graphicData uri="http://schemas.openxmlformats.org/drawingml/2006/table">
            <a:tbl>
              <a:tblPr firstRow="1" bandRow="1"/>
              <a:tblGrid>
                <a:gridCol w="10592293">
                  <a:extLst>
                    <a:ext uri="{9D8B030D-6E8A-4147-A177-3AD203B41FA5}">
                      <a16:colId xmlns:a16="http://schemas.microsoft.com/office/drawing/2014/main" xmlns=""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Đã phối hợp với Tư vấn dự án tiếp thu các ý kiến góp ý của các Bộ, ngành, địa phương đã có Văn bản góp ý</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Đối với các Bộ, cơ quan ngang bộ chưa có ý kiến góp ý (Bộ Công Thương, Bộ Tư pháp, Văn phòng Chính phủ, Tập đoàn Điện lực Việt Nam), sẽ phối hợp với Tư vấn dự án tiếp tục bổ sung, hoàn chỉnh báo cáo Quy hoạch tỉnh khi có ý kiến góp ý của các Bộ, cơ quan ngang bộ.</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Đã phối hợp với Tư vấn dự án làm việc với Sở Tài nguyên và Môi trường về nội dung Phương án phân bổ và khoanh vùng đất đai theo khu chức năng và theo loại đất đến từng đơn vị hành chính cấp huyện; và phối hợp với các sở, ngành, địa phương xây dựng danh mục dự án ưu tiên đầu tư giai đoạn 2026-2030 để bổ sung vào Quy hoạch tỉnh.</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Dự kiến trong tháng 5 sẽ hoàn thiện dự thảo Báo cáo, báo cáo UBND tỉnh trình Hội đồng thẩm định quy hoạch tỉnh.</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17250950"/>
                  </a:ext>
                </a:extLst>
              </a:tr>
            </a:tbl>
          </a:graphicData>
        </a:graphic>
      </p:graphicFrame>
    </p:spTree>
    <p:extLst>
      <p:ext uri="{BB962C8B-B14F-4D97-AF65-F5344CB8AC3E}">
        <p14:creationId xmlns:p14="http://schemas.microsoft.com/office/powerpoint/2010/main" val="1379701318"/>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xmlns="" id="{2370DE8C-E81A-4D58-A227-5CD8F3D79F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5" imgW="351" imgH="351" progId="TCLayout.ActiveDocument.1">
                  <p:embed/>
                </p:oleObj>
              </mc:Choice>
              <mc:Fallback>
                <p:oleObj name="think-cell Slide" r:id="rId5" imgW="351" imgH="351" progId="TCLayout.ActiveDocument.1">
                  <p:embed/>
                  <p:pic>
                    <p:nvPicPr>
                      <p:cNvPr id="7" name="Object 1" hidden="1">
                        <a:extLst>
                          <a:ext uri="{FF2B5EF4-FFF2-40B4-BE49-F238E27FC236}">
                            <a16:creationId xmlns:a16="http://schemas.microsoft.com/office/drawing/2014/main" xmlns="" id="{2370DE8C-E81A-4D58-A227-5CD8F3D79F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xmlns=""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xmlns=""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 THÁNG 5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xmlns=""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xmlns=""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xmlns=""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xmlns=""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xmlns=""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xmlns="" id="{7BB10B8D-40BC-355F-AFFF-D6C74DD36E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D56CE58D-FB5F-1D10-4BAF-E7B0E8BB9294}"/>
              </a:ext>
            </a:extLst>
          </p:cNvPr>
          <p:cNvSpPr txBox="1">
            <a:spLocks/>
          </p:cNvSpPr>
          <p:nvPr/>
        </p:nvSpPr>
        <p:spPr>
          <a:xfrm>
            <a:off x="680978" y="115647"/>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a:solidFill>
                  <a:srgbClr val="064273"/>
                </a:solidFill>
                <a:latin typeface="Times New Roman" panose="02020603050405020304" pitchFamily="18" charset="0"/>
                <a:ea typeface="+mn-ea"/>
                <a:cs typeface="Times New Roman" panose="02020603050405020304" pitchFamily="18" charset="0"/>
              </a:rPr>
              <a:t>II. </a:t>
            </a:r>
            <a:r>
              <a:rPr lang="en-US" sz="2800" b="1" dirty="0">
                <a:solidFill>
                  <a:srgbClr val="064273"/>
                </a:solidFill>
                <a:latin typeface="Times New Roman" panose="02020603050405020304" pitchFamily="18" charset="0"/>
                <a:ea typeface="+mn-ea"/>
                <a:cs typeface="Times New Roman" panose="02020603050405020304" pitchFamily="18" charset="0"/>
              </a:rPr>
              <a:t>NHIỆM VỤ TRỌNG </a:t>
            </a:r>
            <a:r>
              <a:rPr lang="en-US" sz="2800" b="1">
                <a:solidFill>
                  <a:srgbClr val="064273"/>
                </a:solidFill>
                <a:latin typeface="Times New Roman" panose="02020603050405020304" pitchFamily="18" charset="0"/>
                <a:ea typeface="+mn-ea"/>
                <a:cs typeface="Times New Roman" panose="02020603050405020304" pitchFamily="18" charset="0"/>
              </a:rPr>
              <a:t>TÂM THÁNG 5 NĂM </a:t>
            </a:r>
            <a:r>
              <a:rPr lang="en-US" sz="2800" b="1" dirty="0">
                <a:solidFill>
                  <a:srgbClr val="064273"/>
                </a:solidFill>
                <a:latin typeface="Times New Roman" panose="02020603050405020304" pitchFamily="18" charset="0"/>
                <a:ea typeface="+mn-ea"/>
                <a:cs typeface="Times New Roman" panose="02020603050405020304" pitchFamily="18" charset="0"/>
              </a:rPr>
              <a:t>2023</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graphicFrame>
        <p:nvGraphicFramePr>
          <p:cNvPr id="2" name="Content Placeholder 5">
            <a:extLst>
              <a:ext uri="{FF2B5EF4-FFF2-40B4-BE49-F238E27FC236}">
                <a16:creationId xmlns:a16="http://schemas.microsoft.com/office/drawing/2014/main" xmlns="" id="{A091C242-D65F-E0C5-16D6-B15756DA14A6}"/>
              </a:ext>
            </a:extLst>
          </p:cNvPr>
          <p:cNvGraphicFramePr>
            <a:graphicFrameLocks noGrp="1"/>
          </p:cNvGraphicFramePr>
          <p:nvPr>
            <p:ph idx="1"/>
            <p:extLst>
              <p:ext uri="{D42A27DB-BD31-4B8C-83A1-F6EECF244321}">
                <p14:modId xmlns:p14="http://schemas.microsoft.com/office/powerpoint/2010/main" val="2857555264"/>
              </p:ext>
            </p:extLst>
          </p:nvPr>
        </p:nvGraphicFramePr>
        <p:xfrm>
          <a:off x="541421" y="756058"/>
          <a:ext cx="11196489" cy="59619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5" name="Straight Connector 4">
            <a:extLst>
              <a:ext uri="{FF2B5EF4-FFF2-40B4-BE49-F238E27FC236}">
                <a16:creationId xmlns:a16="http://schemas.microsoft.com/office/drawing/2014/main" xmlns="" id="{B76B30D3-4366-089A-F34D-48B859C3B869}"/>
              </a:ext>
            </a:extLst>
          </p:cNvPr>
          <p:cNvCxnSpPr>
            <a:cxnSpLocks/>
          </p:cNvCxnSpPr>
          <p:nvPr/>
        </p:nvCxnSpPr>
        <p:spPr>
          <a:xfrm>
            <a:off x="867375" y="598248"/>
            <a:ext cx="7835191"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4573862"/>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D56CE58D-FB5F-1D10-4BAF-E7B0E8BB9294}"/>
              </a:ext>
            </a:extLst>
          </p:cNvPr>
          <p:cNvSpPr txBox="1">
            <a:spLocks/>
          </p:cNvSpPr>
          <p:nvPr/>
        </p:nvSpPr>
        <p:spPr>
          <a:xfrm>
            <a:off x="680978" y="187732"/>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a:solidFill>
                  <a:srgbClr val="064273"/>
                </a:solidFill>
                <a:latin typeface="Times New Roman" panose="02020603050405020304" pitchFamily="18" charset="0"/>
                <a:ea typeface="+mn-ea"/>
                <a:cs typeface="Times New Roman" panose="02020603050405020304" pitchFamily="18" charset="0"/>
              </a:rPr>
              <a:t>II. </a:t>
            </a:r>
            <a:r>
              <a:rPr lang="en-US" sz="2800" b="1" dirty="0">
                <a:solidFill>
                  <a:srgbClr val="064273"/>
                </a:solidFill>
                <a:latin typeface="Times New Roman" panose="02020603050405020304" pitchFamily="18" charset="0"/>
                <a:ea typeface="+mn-ea"/>
                <a:cs typeface="Times New Roman" panose="02020603050405020304" pitchFamily="18" charset="0"/>
              </a:rPr>
              <a:t>NHIỆM </a:t>
            </a:r>
            <a:r>
              <a:rPr lang="en-US" sz="2800" b="1">
                <a:solidFill>
                  <a:srgbClr val="064273"/>
                </a:solidFill>
                <a:latin typeface="Times New Roman" panose="02020603050405020304" pitchFamily="18" charset="0"/>
                <a:ea typeface="+mn-ea"/>
                <a:cs typeface="Times New Roman" panose="02020603050405020304" pitchFamily="18" charset="0"/>
              </a:rPr>
              <a:t>VỤ TRỌNG TÂM THÁNG 5 </a:t>
            </a:r>
            <a:r>
              <a:rPr lang="en-US" sz="2800" b="1" dirty="0">
                <a:solidFill>
                  <a:srgbClr val="064273"/>
                </a:solidFill>
                <a:latin typeface="Times New Roman" panose="02020603050405020304" pitchFamily="18" charset="0"/>
                <a:ea typeface="+mn-ea"/>
                <a:cs typeface="Times New Roman" panose="02020603050405020304" pitchFamily="18" charset="0"/>
              </a:rPr>
              <a:t>NĂM 2023</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graphicFrame>
        <p:nvGraphicFramePr>
          <p:cNvPr id="2" name="Content Placeholder 5">
            <a:extLst>
              <a:ext uri="{FF2B5EF4-FFF2-40B4-BE49-F238E27FC236}">
                <a16:creationId xmlns:a16="http://schemas.microsoft.com/office/drawing/2014/main" xmlns="" id="{A091C242-D65F-E0C5-16D6-B15756DA14A6}"/>
              </a:ext>
            </a:extLst>
          </p:cNvPr>
          <p:cNvGraphicFramePr>
            <a:graphicFrameLocks noGrp="1"/>
          </p:cNvGraphicFramePr>
          <p:nvPr>
            <p:ph idx="1"/>
            <p:extLst>
              <p:ext uri="{D42A27DB-BD31-4B8C-83A1-F6EECF244321}">
                <p14:modId xmlns:p14="http://schemas.microsoft.com/office/powerpoint/2010/main" val="2921173549"/>
              </p:ext>
            </p:extLst>
          </p:nvPr>
        </p:nvGraphicFramePr>
        <p:xfrm>
          <a:off x="838200" y="1067456"/>
          <a:ext cx="10899710" cy="56170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Connector 5">
            <a:extLst>
              <a:ext uri="{FF2B5EF4-FFF2-40B4-BE49-F238E27FC236}">
                <a16:creationId xmlns:a16="http://schemas.microsoft.com/office/drawing/2014/main" xmlns="" id="{AF18982B-1EB8-38FB-804F-68378B0CB0EE}"/>
              </a:ext>
            </a:extLst>
          </p:cNvPr>
          <p:cNvCxnSpPr>
            <a:cxnSpLocks/>
          </p:cNvCxnSpPr>
          <p:nvPr/>
        </p:nvCxnSpPr>
        <p:spPr>
          <a:xfrm>
            <a:off x="838200" y="756058"/>
            <a:ext cx="7832834"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3831680"/>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402462" y="228479"/>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T</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CÁC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Ỉ</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Ê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Ủ</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YẾ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lang="en-US" sz="2600" b="1">
                <a:solidFill>
                  <a:srgbClr val="040206"/>
                </a:solidFill>
                <a:latin typeface="Times New Roman" panose="02020603050405020304" pitchFamily="18" charset="0"/>
                <a:ea typeface="Times New Roman" panose="02020603050405020304" pitchFamily="18" charset="0"/>
                <a:cs typeface="Times New Roman" panose="02020603050405020304" pitchFamily="18" charset="0"/>
              </a:rPr>
              <a:t>4</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THÁNG ĐẦU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Object 1">
            <a:extLst>
              <a:ext uri="{FF2B5EF4-FFF2-40B4-BE49-F238E27FC236}">
                <a16:creationId xmlns:a16="http://schemas.microsoft.com/office/drawing/2014/main" xmlns="" id="{5B96E70D-C331-5DF5-A428-573F7DD88E07}"/>
              </a:ext>
            </a:extLst>
          </p:cNvPr>
          <p:cNvGraphicFramePr>
            <a:graphicFrameLocks noChangeAspect="1"/>
          </p:cNvGraphicFramePr>
          <p:nvPr>
            <p:extLst>
              <p:ext uri="{D42A27DB-BD31-4B8C-83A1-F6EECF244321}">
                <p14:modId xmlns:p14="http://schemas.microsoft.com/office/powerpoint/2010/main" val="2497776550"/>
              </p:ext>
            </p:extLst>
          </p:nvPr>
        </p:nvGraphicFramePr>
        <p:xfrm>
          <a:off x="629174" y="1284287"/>
          <a:ext cx="11280432" cy="4532317"/>
        </p:xfrm>
        <a:graphic>
          <a:graphicData uri="http://schemas.openxmlformats.org/presentationml/2006/ole">
            <mc:AlternateContent xmlns:mc="http://schemas.openxmlformats.org/markup-compatibility/2006">
              <mc:Choice xmlns:v="urn:schemas-microsoft-com:vml" Requires="v">
                <p:oleObj spid="_x0000_s4102" name="Worksheet" r:id="rId4" imgW="10667880" imgH="4286370" progId="Excel.Sheet.8">
                  <p:embed/>
                </p:oleObj>
              </mc:Choice>
              <mc:Fallback>
                <p:oleObj name="Worksheet" r:id="rId4" imgW="10667880" imgH="4286370" progId="Excel.Sheet.8">
                  <p:embed/>
                  <p:pic>
                    <p:nvPicPr>
                      <p:cNvPr id="2" name="Object 1">
                        <a:extLst>
                          <a:ext uri="{FF2B5EF4-FFF2-40B4-BE49-F238E27FC236}">
                            <a16:creationId xmlns:a16="http://schemas.microsoft.com/office/drawing/2014/main" xmlns="" id="{5B96E70D-C331-5DF5-A428-573F7DD88E07}"/>
                          </a:ext>
                        </a:extLst>
                      </p:cNvPr>
                      <p:cNvPicPr/>
                      <p:nvPr/>
                    </p:nvPicPr>
                    <p:blipFill>
                      <a:blip r:embed="rId5"/>
                      <a:stretch>
                        <a:fillRect/>
                      </a:stretch>
                    </p:blipFill>
                    <p:spPr>
                      <a:xfrm>
                        <a:off x="629174" y="1284287"/>
                        <a:ext cx="11280432" cy="4532317"/>
                      </a:xfrm>
                      <a:prstGeom prst="rect">
                        <a:avLst/>
                      </a:prstGeom>
                    </p:spPr>
                  </p:pic>
                </p:oleObj>
              </mc:Fallback>
            </mc:AlternateContent>
          </a:graphicData>
        </a:graphic>
      </p:graphicFrame>
    </p:spTree>
    <p:extLst>
      <p:ext uri="{BB962C8B-B14F-4D97-AF65-F5344CB8AC3E}">
        <p14:creationId xmlns:p14="http://schemas.microsoft.com/office/powerpoint/2010/main" val="33851456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251460" y="164960"/>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T</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CÁC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Ỉ</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Ê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Ủ</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YẾ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lang="en-US" sz="2600" b="1">
                <a:solidFill>
                  <a:srgbClr val="040206"/>
                </a:solidFill>
                <a:latin typeface="Times New Roman" panose="02020603050405020304" pitchFamily="18" charset="0"/>
                <a:ea typeface="Times New Roman" panose="02020603050405020304" pitchFamily="18" charset="0"/>
                <a:cs typeface="Times New Roman" panose="02020603050405020304" pitchFamily="18" charset="0"/>
              </a:rPr>
              <a:t>4</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THÁNG ĐẦU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5" name="Object 4">
            <a:extLst>
              <a:ext uri="{FF2B5EF4-FFF2-40B4-BE49-F238E27FC236}">
                <a16:creationId xmlns:a16="http://schemas.microsoft.com/office/drawing/2014/main" xmlns="" id="{EAEA73E4-7A47-885E-CE15-6A5FA6943BB4}"/>
              </a:ext>
            </a:extLst>
          </p:cNvPr>
          <p:cNvGraphicFramePr>
            <a:graphicFrameLocks noChangeAspect="1"/>
          </p:cNvGraphicFramePr>
          <p:nvPr>
            <p:extLst>
              <p:ext uri="{D42A27DB-BD31-4B8C-83A1-F6EECF244321}">
                <p14:modId xmlns:p14="http://schemas.microsoft.com/office/powerpoint/2010/main" val="916709856"/>
              </p:ext>
            </p:extLst>
          </p:nvPr>
        </p:nvGraphicFramePr>
        <p:xfrm>
          <a:off x="370926" y="822363"/>
          <a:ext cx="11231048" cy="5334748"/>
        </p:xfrm>
        <a:graphic>
          <a:graphicData uri="http://schemas.openxmlformats.org/presentationml/2006/ole">
            <mc:AlternateContent xmlns:mc="http://schemas.openxmlformats.org/markup-compatibility/2006">
              <mc:Choice xmlns:v="urn:schemas-microsoft-com:vml" Requires="v">
                <p:oleObj spid="_x0000_s5126" name="Worksheet" r:id="rId4" imgW="10667880" imgH="5067247" progId="Excel.Sheet.8">
                  <p:embed/>
                </p:oleObj>
              </mc:Choice>
              <mc:Fallback>
                <p:oleObj name="Worksheet" r:id="rId4" imgW="10667880" imgH="5067247" progId="Excel.Sheet.8">
                  <p:embed/>
                  <p:pic>
                    <p:nvPicPr>
                      <p:cNvPr id="5" name="Object 4">
                        <a:extLst>
                          <a:ext uri="{FF2B5EF4-FFF2-40B4-BE49-F238E27FC236}">
                            <a16:creationId xmlns:a16="http://schemas.microsoft.com/office/drawing/2014/main" xmlns="" id="{EAEA73E4-7A47-885E-CE15-6A5FA6943BB4}"/>
                          </a:ext>
                        </a:extLst>
                      </p:cNvPr>
                      <p:cNvPicPr/>
                      <p:nvPr/>
                    </p:nvPicPr>
                    <p:blipFill>
                      <a:blip r:embed="rId5"/>
                      <a:stretch>
                        <a:fillRect/>
                      </a:stretch>
                    </p:blipFill>
                    <p:spPr>
                      <a:xfrm>
                        <a:off x="370926" y="822363"/>
                        <a:ext cx="11231048" cy="5334748"/>
                      </a:xfrm>
                      <a:prstGeom prst="rect">
                        <a:avLst/>
                      </a:prstGeom>
                    </p:spPr>
                  </p:pic>
                </p:oleObj>
              </mc:Fallback>
            </mc:AlternateContent>
          </a:graphicData>
        </a:graphic>
      </p:graphicFrame>
    </p:spTree>
    <p:extLst>
      <p:ext uri="{BB962C8B-B14F-4D97-AF65-F5344CB8AC3E}">
        <p14:creationId xmlns:p14="http://schemas.microsoft.com/office/powerpoint/2010/main" val="40517991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Rectangle 3"/>
          <p:cNvSpPr/>
          <p:nvPr/>
        </p:nvSpPr>
        <p:spPr>
          <a:xfrm>
            <a:off x="384198" y="380702"/>
            <a:ext cx="11681460" cy="492443"/>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KẾT</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QUẢ</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CÁC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Ỉ</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TIÊ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CHỦ</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kumimoji="0" lang="en-US" sz="2600" b="1" i="0" u="none" strike="noStrike" kern="1200" cap="none" spc="0" normalizeH="0" baseline="0" noProof="0" err="1">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YẾU</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a:t>
            </a:r>
            <a:r>
              <a:rPr lang="en-US" sz="2600" b="1">
                <a:solidFill>
                  <a:srgbClr val="040206"/>
                </a:solidFill>
                <a:latin typeface="Times New Roman" panose="02020603050405020304" pitchFamily="18" charset="0"/>
                <a:ea typeface="Times New Roman" panose="02020603050405020304" pitchFamily="18" charset="0"/>
                <a:cs typeface="Times New Roman" panose="02020603050405020304" pitchFamily="18" charset="0"/>
              </a:rPr>
              <a:t>4</a:t>
            </a:r>
            <a:r>
              <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Times New Roman" panose="02020603050405020304" pitchFamily="18" charset="0"/>
                <a:cs typeface="Times New Roman" panose="02020603050405020304" pitchFamily="18" charset="0"/>
              </a:rPr>
              <a:t> THÁNG ĐẦU NĂM 2023</a:t>
            </a:r>
            <a:endParaRPr kumimoji="0" lang="en-US" sz="2600" b="1" i="0" u="none" strike="noStrike" kern="1200" cap="none" spc="0" normalizeH="0" baseline="0" noProof="0">
              <a:ln>
                <a:noFill/>
              </a:ln>
              <a:solidFill>
                <a:srgbClr val="040206"/>
              </a:solidFill>
              <a:effectLst/>
              <a:uLnTx/>
              <a:uFillTx/>
              <a:latin typeface="Times New Roman" panose="02020603050405020304" pitchFamily="18" charset="0"/>
              <a:ea typeface="+mn-ea"/>
              <a:cs typeface="Times New Roman" panose="02020603050405020304" pitchFamily="18" charset="0"/>
            </a:endParaRPr>
          </a:p>
        </p:txBody>
      </p:sp>
      <p:graphicFrame>
        <p:nvGraphicFramePr>
          <p:cNvPr id="2" name="Object 1">
            <a:extLst>
              <a:ext uri="{FF2B5EF4-FFF2-40B4-BE49-F238E27FC236}">
                <a16:creationId xmlns:a16="http://schemas.microsoft.com/office/drawing/2014/main" xmlns="" id="{7FA18B5F-FE0E-75E9-4A67-FD2049B75C1B}"/>
              </a:ext>
            </a:extLst>
          </p:cNvPr>
          <p:cNvGraphicFramePr>
            <a:graphicFrameLocks noChangeAspect="1"/>
          </p:cNvGraphicFramePr>
          <p:nvPr>
            <p:extLst>
              <p:ext uri="{D42A27DB-BD31-4B8C-83A1-F6EECF244321}">
                <p14:modId xmlns:p14="http://schemas.microsoft.com/office/powerpoint/2010/main" val="2148393727"/>
              </p:ext>
            </p:extLst>
          </p:nvPr>
        </p:nvGraphicFramePr>
        <p:xfrm>
          <a:off x="230306" y="1253847"/>
          <a:ext cx="11760148" cy="3402043"/>
        </p:xfrm>
        <a:graphic>
          <a:graphicData uri="http://schemas.openxmlformats.org/presentationml/2006/ole">
            <mc:AlternateContent xmlns:mc="http://schemas.openxmlformats.org/markup-compatibility/2006">
              <mc:Choice xmlns:v="urn:schemas-microsoft-com:vml" Requires="v">
                <p:oleObj spid="_x0000_s6150" name="Worksheet" r:id="rId4" imgW="10667880" imgH="3086100" progId="Excel.Sheet.8">
                  <p:embed/>
                </p:oleObj>
              </mc:Choice>
              <mc:Fallback>
                <p:oleObj name="Worksheet" r:id="rId4" imgW="10667880" imgH="3086100" progId="Excel.Sheet.8">
                  <p:embed/>
                  <p:pic>
                    <p:nvPicPr>
                      <p:cNvPr id="2" name="Object 1">
                        <a:extLst>
                          <a:ext uri="{FF2B5EF4-FFF2-40B4-BE49-F238E27FC236}">
                            <a16:creationId xmlns:a16="http://schemas.microsoft.com/office/drawing/2014/main" xmlns="" id="{7FA18B5F-FE0E-75E9-4A67-FD2049B75C1B}"/>
                          </a:ext>
                        </a:extLst>
                      </p:cNvPr>
                      <p:cNvPicPr/>
                      <p:nvPr/>
                    </p:nvPicPr>
                    <p:blipFill>
                      <a:blip r:embed="rId5"/>
                      <a:stretch>
                        <a:fillRect/>
                      </a:stretch>
                    </p:blipFill>
                    <p:spPr>
                      <a:xfrm>
                        <a:off x="230306" y="1253847"/>
                        <a:ext cx="11760148" cy="3402043"/>
                      </a:xfrm>
                      <a:prstGeom prst="rect">
                        <a:avLst/>
                      </a:prstGeom>
                    </p:spPr>
                  </p:pic>
                </p:oleObj>
              </mc:Fallback>
            </mc:AlternateContent>
          </a:graphicData>
        </a:graphic>
      </p:graphicFrame>
    </p:spTree>
    <p:extLst>
      <p:ext uri="{BB962C8B-B14F-4D97-AF65-F5344CB8AC3E}">
        <p14:creationId xmlns:p14="http://schemas.microsoft.com/office/powerpoint/2010/main" val="288710327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xmlns="" id="{01DC26C3-E6F4-C27A-8624-3A65D81B6008}"/>
              </a:ext>
            </a:extLst>
          </p:cNvPr>
          <p:cNvSpPr/>
          <p:nvPr/>
        </p:nvSpPr>
        <p:spPr>
          <a:xfrm>
            <a:off x="926142" y="47719"/>
            <a:ext cx="3566682"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 </a:t>
            </a:r>
            <a:r>
              <a:rPr lang="en-US" sz="2800" b="1" spc="-20" dirty="0" err="1">
                <a:solidFill>
                  <a:srgbClr val="100717"/>
                </a:solidFill>
                <a:latin typeface="Times New Roman" panose="02020603050405020304" pitchFamily="18" charset="0"/>
                <a:cs typeface="Times New Roman" panose="02020603050405020304" pitchFamily="18" charset="0"/>
              </a:rPr>
              <a:t>N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lâm</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hủ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3083954460"/>
              </p:ext>
            </p:extLst>
          </p:nvPr>
        </p:nvGraphicFramePr>
        <p:xfrm>
          <a:off x="777362" y="1459581"/>
          <a:ext cx="10630949" cy="5053672"/>
        </p:xfrm>
        <a:graphic>
          <a:graphicData uri="http://schemas.openxmlformats.org/drawingml/2006/table">
            <a:tbl>
              <a:tblPr firstRow="1" bandRow="1"/>
              <a:tblGrid>
                <a:gridCol w="10630949">
                  <a:extLst>
                    <a:ext uri="{9D8B030D-6E8A-4147-A177-3AD203B41FA5}">
                      <a16:colId xmlns:a16="http://schemas.microsoft.com/office/drawing/2014/main" xmlns="" val="3655493598"/>
                    </a:ext>
                  </a:extLst>
                </a:gridCol>
              </a:tblGrid>
              <a:tr h="505367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Đ</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ã gieo sạ 46.881,6 ha lúa, đạt 50,5% kế hoạch năm và đạt 98,5% so cùng </a:t>
                      </a:r>
                      <a:r>
                        <a:rPr lang="vi-VN" sz="2200" b="0" kern="1200" dirty="0" smtClean="0">
                          <a:solidFill>
                            <a:schemeClr val="dk1"/>
                          </a:solidFill>
                          <a:effectLst/>
                          <a:latin typeface="Times New Roman" panose="02020603050405020304" pitchFamily="18" charset="0"/>
                          <a:ea typeface="+mn-ea"/>
                          <a:cs typeface="Times New Roman" panose="02020603050405020304" pitchFamily="18" charset="0"/>
                        </a:rPr>
                        <a:t>kỳ</a:t>
                      </a:r>
                      <a:r>
                        <a:rPr lang="en-US" sz="22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úa</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do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uyể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ổ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mụ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íc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ử</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ụ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úa</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uyể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ổ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úa</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xuấ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do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a</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rễ</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ó</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n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172 ha,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Hoà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179 ha,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u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ướ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99 ha,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Qu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96 ha,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â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76 ha,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ù</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á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56 ha,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â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a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30 ha</a:t>
                      </a:r>
                      <a:r>
                        <a:rPr lang="en-US" sz="22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smtClean="0">
                          <a:solidFill>
                            <a:schemeClr val="dk1"/>
                          </a:solidFill>
                          <a:effectLst/>
                          <a:latin typeface="Times New Roman" panose="02020603050405020304" pitchFamily="18" charset="0"/>
                          <a:ea typeface="+mn-ea"/>
                          <a:cs typeface="Times New Roman" panose="02020603050405020304" pitchFamily="18" charset="0"/>
                        </a:rPr>
                        <a:t>Tính đến nay cơ bản đã thu hoạch xong; diện tích còn lại khoảng 380 ha trên các chân lúa trà muộn (các huyện Vân Canh, Vĩnh Thạnh); sản lượng thu hoạch 336.383 tấn</a:t>
                      </a:r>
                      <a:r>
                        <a:rPr lang="en-US" sz="22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Ước tính sơ bộ năng suất lúa bình quân ước đạt 71,8 tạ/ha, tăng 2,1 tạ/ha so với cùng </a:t>
                      </a:r>
                      <a:r>
                        <a:rPr lang="vi-VN" sz="2200" b="0" kern="1200" dirty="0" smtClean="0">
                          <a:solidFill>
                            <a:schemeClr val="dk1"/>
                          </a:solidFill>
                          <a:effectLst/>
                          <a:latin typeface="Times New Roman" panose="02020603050405020304" pitchFamily="18" charset="0"/>
                          <a:ea typeface="+mn-ea"/>
                          <a:cs typeface="Times New Roman" panose="02020603050405020304" pitchFamily="18" charset="0"/>
                        </a:rPr>
                        <a:t>kỳ</a:t>
                      </a:r>
                      <a:r>
                        <a:rPr lang="en-US" sz="22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s-E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sp>
        <p:nvSpPr>
          <p:cNvPr id="9" name="Rectangle 8">
            <a:extLst>
              <a:ext uri="{FF2B5EF4-FFF2-40B4-BE49-F238E27FC236}">
                <a16:creationId xmlns:a16="http://schemas.microsoft.com/office/drawing/2014/main" xmlns="" id="{01DC26C3-E6F4-C27A-8624-3A65D81B6008}"/>
              </a:ext>
            </a:extLst>
          </p:cNvPr>
          <p:cNvSpPr/>
          <p:nvPr/>
        </p:nvSpPr>
        <p:spPr>
          <a:xfrm>
            <a:off x="1343243" y="550752"/>
            <a:ext cx="273247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 </a:t>
            </a:r>
            <a:r>
              <a:rPr lang="en-US" sz="2800" b="1" spc="-20" dirty="0" err="1">
                <a:solidFill>
                  <a:srgbClr val="100717"/>
                </a:solidFill>
                <a:latin typeface="Times New Roman" panose="02020603050405020304" pitchFamily="18" charset="0"/>
                <a:cs typeface="Times New Roman" panose="02020603050405020304" pitchFamily="18" charset="0"/>
              </a:rPr>
              <a:t>N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10" name="Rectangle 9">
            <a:extLst>
              <a:ext uri="{FF2B5EF4-FFF2-40B4-BE49-F238E27FC236}">
                <a16:creationId xmlns:a16="http://schemas.microsoft.com/office/drawing/2014/main" xmlns="" id="{01DC26C3-E6F4-C27A-8624-3A65D81B6008}"/>
              </a:ext>
            </a:extLst>
          </p:cNvPr>
          <p:cNvSpPr/>
          <p:nvPr/>
        </p:nvSpPr>
        <p:spPr>
          <a:xfrm>
            <a:off x="1761755" y="1073972"/>
            <a:ext cx="273106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1.  </a:t>
            </a:r>
            <a:r>
              <a:rPr lang="en-US" sz="2800" b="1" spc="-20" dirty="0" err="1">
                <a:solidFill>
                  <a:srgbClr val="100717"/>
                </a:solidFill>
                <a:latin typeface="Times New Roman" panose="02020603050405020304" pitchFamily="18" charset="0"/>
                <a:cs typeface="Times New Roman" panose="02020603050405020304" pitchFamily="18" charset="0"/>
              </a:rPr>
              <a:t>Trồ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ọt</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xmlns="" id="{01DC26C3-E6F4-C27A-8624-3A65D81B6008}"/>
              </a:ext>
            </a:extLst>
          </p:cNvPr>
          <p:cNvSpPr/>
          <p:nvPr/>
        </p:nvSpPr>
        <p:spPr>
          <a:xfrm>
            <a:off x="2326279" y="1505466"/>
            <a:ext cx="2840778"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a) </a:t>
            </a:r>
            <a:r>
              <a:rPr lang="en-US" sz="2800" b="1" spc="-20" dirty="0" err="1">
                <a:solidFill>
                  <a:srgbClr val="100717"/>
                </a:solidFill>
                <a:latin typeface="Times New Roman" panose="02020603050405020304" pitchFamily="18" charset="0"/>
                <a:cs typeface="Times New Roman" panose="02020603050405020304" pitchFamily="18" charset="0"/>
              </a:rPr>
              <a:t>Vụ</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Xuân</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98036239"/>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01DC26C3-E6F4-C27A-8624-3A65D81B6008}"/>
              </a:ext>
            </a:extLst>
          </p:cNvPr>
          <p:cNvSpPr/>
          <p:nvPr/>
        </p:nvSpPr>
        <p:spPr>
          <a:xfrm>
            <a:off x="905890" y="449398"/>
            <a:ext cx="2840778"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a) </a:t>
            </a:r>
            <a:r>
              <a:rPr lang="en-US" sz="2800" b="1" spc="-20" dirty="0" err="1">
                <a:solidFill>
                  <a:srgbClr val="100717"/>
                </a:solidFill>
                <a:latin typeface="Times New Roman" panose="02020603050405020304" pitchFamily="18" charset="0"/>
                <a:cs typeface="Times New Roman" panose="02020603050405020304" pitchFamily="18" charset="0"/>
              </a:rPr>
              <a:t>Vụ</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Xuâ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607510826"/>
              </p:ext>
            </p:extLst>
          </p:nvPr>
        </p:nvGraphicFramePr>
        <p:xfrm>
          <a:off x="642580" y="2011609"/>
          <a:ext cx="11037887" cy="2827338"/>
        </p:xfrm>
        <a:graphic>
          <a:graphicData uri="http://schemas.openxmlformats.org/presentationml/2006/ole">
            <mc:AlternateContent xmlns:mc="http://schemas.openxmlformats.org/markup-compatibility/2006">
              <mc:Choice xmlns:v="urn:schemas-microsoft-com:vml" Requires="v">
                <p:oleObj spid="_x0000_s7174" name="Worksheet" r:id="rId3" imgW="9705960" imgH="2486145" progId="Excel.Sheet.12">
                  <p:embed/>
                </p:oleObj>
              </mc:Choice>
              <mc:Fallback>
                <p:oleObj name="Worksheet" r:id="rId3" imgW="9705960" imgH="2486145" progId="Excel.Sheet.12">
                  <p:embed/>
                  <p:pic>
                    <p:nvPicPr>
                      <p:cNvPr id="2"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2580" y="2011609"/>
                        <a:ext cx="11037887" cy="282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a:extLst>
              <a:ext uri="{FF2B5EF4-FFF2-40B4-BE49-F238E27FC236}">
                <a16:creationId xmlns:a16="http://schemas.microsoft.com/office/drawing/2014/main" xmlns="" id="{01DC26C3-E6F4-C27A-8624-3A65D81B6008}"/>
              </a:ext>
            </a:extLst>
          </p:cNvPr>
          <p:cNvSpPr/>
          <p:nvPr/>
        </p:nvSpPr>
        <p:spPr>
          <a:xfrm>
            <a:off x="3154187" y="1142423"/>
            <a:ext cx="5757987" cy="523220"/>
          </a:xfrm>
          <a:prstGeom prst="rect">
            <a:avLst/>
          </a:prstGeom>
        </p:spPr>
        <p:txBody>
          <a:bodyPr wrap="none">
            <a:spAutoFit/>
          </a:bodyPr>
          <a:lstStyle/>
          <a:p>
            <a:pPr marL="12700" defTabSz="914400">
              <a:spcBef>
                <a:spcPts val="300"/>
              </a:spcBef>
              <a:defRPr/>
            </a:pPr>
            <a:r>
              <a:rPr lang="en-US" sz="2800" b="1" spc="-20" dirty="0" err="1">
                <a:solidFill>
                  <a:srgbClr val="100717"/>
                </a:solidFill>
                <a:latin typeface="Times New Roman" panose="02020603050405020304" pitchFamily="18" charset="0"/>
                <a:cs typeface="Times New Roman" panose="02020603050405020304" pitchFamily="18" charset="0"/>
              </a:rPr>
              <a:t>Diệ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í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gieo</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ồ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mộ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số</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â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ồ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9446145"/>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01DC26C3-E6F4-C27A-8624-3A65D81B6008}"/>
              </a:ext>
            </a:extLst>
          </p:cNvPr>
          <p:cNvSpPr/>
          <p:nvPr/>
        </p:nvSpPr>
        <p:spPr>
          <a:xfrm>
            <a:off x="905890" y="449398"/>
            <a:ext cx="2840778"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a) </a:t>
            </a:r>
            <a:r>
              <a:rPr lang="en-US" sz="2800" b="1" spc="-20" dirty="0" err="1">
                <a:solidFill>
                  <a:srgbClr val="100717"/>
                </a:solidFill>
                <a:latin typeface="Times New Roman" panose="02020603050405020304" pitchFamily="18" charset="0"/>
                <a:cs typeface="Times New Roman" panose="02020603050405020304" pitchFamily="18" charset="0"/>
              </a:rPr>
              <a:t>Vụ</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Xuân</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xmlns="" id="{01DC26C3-E6F4-C27A-8624-3A65D81B6008}"/>
              </a:ext>
            </a:extLst>
          </p:cNvPr>
          <p:cNvSpPr/>
          <p:nvPr/>
        </p:nvSpPr>
        <p:spPr>
          <a:xfrm>
            <a:off x="3746668" y="449398"/>
            <a:ext cx="5757987" cy="523220"/>
          </a:xfrm>
          <a:prstGeom prst="rect">
            <a:avLst/>
          </a:prstGeom>
        </p:spPr>
        <p:txBody>
          <a:bodyPr wrap="none">
            <a:spAutoFit/>
          </a:bodyPr>
          <a:lstStyle/>
          <a:p>
            <a:pPr marL="12700" defTabSz="914400">
              <a:spcBef>
                <a:spcPts val="300"/>
              </a:spcBef>
              <a:defRPr/>
            </a:pPr>
            <a:r>
              <a:rPr lang="en-US" sz="2800" b="1" spc="-20" dirty="0" err="1">
                <a:solidFill>
                  <a:srgbClr val="100717"/>
                </a:solidFill>
                <a:latin typeface="Times New Roman" panose="02020603050405020304" pitchFamily="18" charset="0"/>
                <a:cs typeface="Times New Roman" panose="02020603050405020304" pitchFamily="18" charset="0"/>
              </a:rPr>
              <a:t>Diệ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í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gieo</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ồ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mộ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số</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â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rồng</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xmlns="" id="{AB1434BF-E76C-0238-1E8B-889C1EE78845}"/>
              </a:ext>
            </a:extLst>
          </p:cNvPr>
          <p:cNvGraphicFramePr>
            <a:graphicFrameLocks noGrp="1"/>
          </p:cNvGraphicFramePr>
          <p:nvPr/>
        </p:nvGraphicFramePr>
        <p:xfrm>
          <a:off x="4018327" y="1463346"/>
          <a:ext cx="8078597" cy="4870418"/>
        </p:xfrm>
        <a:graphic>
          <a:graphicData uri="http://schemas.openxmlformats.org/drawingml/2006/table">
            <a:tbl>
              <a:tblPr>
                <a:tableStyleId>{5C22544A-7EE6-4342-B048-85BDC9FD1C3A}</a:tableStyleId>
              </a:tblPr>
              <a:tblGrid>
                <a:gridCol w="1828800">
                  <a:extLst>
                    <a:ext uri="{9D8B030D-6E8A-4147-A177-3AD203B41FA5}">
                      <a16:colId xmlns:a16="http://schemas.microsoft.com/office/drawing/2014/main" xmlns="" val="1925347431"/>
                    </a:ext>
                  </a:extLst>
                </a:gridCol>
                <a:gridCol w="1505063">
                  <a:extLst>
                    <a:ext uri="{9D8B030D-6E8A-4147-A177-3AD203B41FA5}">
                      <a16:colId xmlns:a16="http://schemas.microsoft.com/office/drawing/2014/main" xmlns="" val="1204465846"/>
                    </a:ext>
                  </a:extLst>
                </a:gridCol>
                <a:gridCol w="1581578">
                  <a:extLst>
                    <a:ext uri="{9D8B030D-6E8A-4147-A177-3AD203B41FA5}">
                      <a16:colId xmlns:a16="http://schemas.microsoft.com/office/drawing/2014/main" xmlns="" val="3098257804"/>
                    </a:ext>
                  </a:extLst>
                </a:gridCol>
                <a:gridCol w="1581578">
                  <a:extLst>
                    <a:ext uri="{9D8B030D-6E8A-4147-A177-3AD203B41FA5}">
                      <a16:colId xmlns:a16="http://schemas.microsoft.com/office/drawing/2014/main" xmlns="" val="328917630"/>
                    </a:ext>
                  </a:extLst>
                </a:gridCol>
                <a:gridCol w="1581578">
                  <a:extLst>
                    <a:ext uri="{9D8B030D-6E8A-4147-A177-3AD203B41FA5}">
                      <a16:colId xmlns:a16="http://schemas.microsoft.com/office/drawing/2014/main" xmlns="" val="3844554182"/>
                    </a:ext>
                  </a:extLst>
                </a:gridCol>
              </a:tblGrid>
              <a:tr h="347887">
                <a:tc rowSpan="2">
                  <a:txBody>
                    <a:bodyPr/>
                    <a:lstStyle/>
                    <a:p>
                      <a:pPr algn="ctr" rtl="0" fontAlgn="ctr"/>
                      <a:r>
                        <a:rPr lang="vi-VN" sz="1600" b="1" u="sng" strike="noStrike" dirty="0">
                          <a:solidFill>
                            <a:schemeClr val="tx1"/>
                          </a:solidFill>
                          <a:effectLst/>
                          <a:latin typeface="+mj-lt"/>
                          <a:hlinkClick r:id="rId2">
                            <a:extLst>
                              <a:ext uri="{A12FA001-AC4F-418D-AE19-62706E023703}">
                                <ahyp:hlinkClr xmlns:ahyp="http://schemas.microsoft.com/office/drawing/2018/hyperlinkcolor" xmlns="" val="tx"/>
                              </a:ext>
                            </a:extLst>
                          </a:hlinkClick>
                        </a:rPr>
                        <a:t>Địa phương</a:t>
                      </a:r>
                      <a:endParaRPr lang="vi-VN" sz="1600" b="1" i="0" u="sng" strike="noStrike" dirty="0">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4">
                  <a:txBody>
                    <a:bodyPr/>
                    <a:lstStyle/>
                    <a:p>
                      <a:pPr algn="ctr" rtl="0" fontAlgn="ctr"/>
                      <a:r>
                        <a:rPr lang="vi-VN" sz="1600" b="1" u="none" strike="noStrike">
                          <a:effectLst/>
                          <a:latin typeface="+mj-lt"/>
                        </a:rPr>
                        <a:t>Trồng trọt</a:t>
                      </a:r>
                      <a:endParaRPr lang="vi-VN" sz="16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xmlns="" val="4196736840"/>
                  </a:ext>
                </a:extLst>
              </a:tr>
              <a:tr h="347887">
                <a:tc vMerge="1">
                  <a:txBody>
                    <a:bodyPr/>
                    <a:lstStyle/>
                    <a:p>
                      <a:endParaRPr lang="vi-VN"/>
                    </a:p>
                  </a:txBody>
                  <a:tcPr/>
                </a:tc>
                <a:tc>
                  <a:txBody>
                    <a:bodyPr/>
                    <a:lstStyle/>
                    <a:p>
                      <a:pPr algn="ctr" rtl="0" fontAlgn="ctr"/>
                      <a:r>
                        <a:rPr lang="vi-VN" sz="1600" b="1" u="none" strike="noStrike">
                          <a:effectLst/>
                          <a:latin typeface="+mj-lt"/>
                        </a:rPr>
                        <a:t>Cây lúa (ha)</a:t>
                      </a:r>
                      <a:endParaRPr lang="vi-VN" sz="16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600" b="1" u="none" strike="noStrike">
                          <a:effectLst/>
                          <a:latin typeface="+mj-lt"/>
                        </a:rPr>
                        <a:t>Cây ngô (ha)</a:t>
                      </a:r>
                      <a:endParaRPr lang="vi-VN" sz="16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600" b="1" u="none" strike="noStrike">
                          <a:effectLst/>
                          <a:latin typeface="+mj-lt"/>
                        </a:rPr>
                        <a:t>Cây lạc (ha)</a:t>
                      </a:r>
                      <a:endParaRPr lang="vi-VN" sz="16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600" b="1" u="none" strike="noStrike">
                          <a:effectLst/>
                          <a:latin typeface="+mj-lt"/>
                        </a:rPr>
                        <a:t>Rau các loại (ha)</a:t>
                      </a:r>
                      <a:endParaRPr lang="vi-VN" sz="16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04404877"/>
                  </a:ext>
                </a:extLst>
              </a:tr>
              <a:tr h="347887">
                <a:tc>
                  <a:txBody>
                    <a:bodyPr/>
                    <a:lstStyle/>
                    <a:p>
                      <a:pPr algn="ctr" rtl="0" fontAlgn="ctr"/>
                      <a:r>
                        <a:rPr lang="vi-VN" sz="1600" b="1" u="sng" strike="noStrike">
                          <a:solidFill>
                            <a:schemeClr val="tx1"/>
                          </a:solidFill>
                          <a:effectLst/>
                          <a:latin typeface="+mj-lt"/>
                        </a:rPr>
                        <a:t>TỔNG CỘNG</a:t>
                      </a:r>
                      <a:endParaRPr lang="vi-VN" sz="1600" b="1" i="0" u="sng"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2000" b="1" u="none" strike="noStrike">
                          <a:effectLst/>
                          <a:latin typeface="+mj-lt"/>
                        </a:rPr>
                        <a:t>46.881,34</a:t>
                      </a:r>
                      <a:endParaRPr lang="vi-VN" sz="20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2000" b="1" u="none" strike="noStrike">
                          <a:effectLst/>
                          <a:latin typeface="+mj-lt"/>
                        </a:rPr>
                        <a:t>2.357,20</a:t>
                      </a:r>
                      <a:endParaRPr lang="vi-VN" sz="20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2000" b="1" u="none" strike="noStrike">
                          <a:effectLst/>
                          <a:latin typeface="+mj-lt"/>
                        </a:rPr>
                        <a:t>8.523,70</a:t>
                      </a:r>
                      <a:endParaRPr lang="vi-VN" sz="20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vi-VN" sz="2000" b="1" u="none" strike="noStrike">
                          <a:effectLst/>
                          <a:latin typeface="+mj-lt"/>
                        </a:rPr>
                        <a:t>5.773,93</a:t>
                      </a:r>
                      <a:endParaRPr lang="vi-VN" sz="2000" b="1" i="0" u="none" strike="noStrike">
                        <a:solidFill>
                          <a:srgbClr val="FF0000"/>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87483313"/>
                  </a:ext>
                </a:extLst>
              </a:tr>
              <a:tr h="347887">
                <a:tc>
                  <a:txBody>
                    <a:bodyPr/>
                    <a:lstStyle/>
                    <a:p>
                      <a:pPr algn="l" rtl="0" fontAlgn="ctr"/>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Thành phố Quy Nhơn</a:t>
                      </a:r>
                      <a:endParaRPr lang="vi-VN" sz="1600" b="0" i="0" u="sng"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dirty="0">
                          <a:effectLst/>
                          <a:latin typeface="+mj-lt"/>
                        </a:rPr>
                        <a:t>964,09</a:t>
                      </a:r>
                      <a:endParaRPr lang="vi-VN" sz="2000" b="0" i="0" u="none" strike="noStrike" dirty="0">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4,5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7</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77,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05549703"/>
                  </a:ext>
                </a:extLst>
              </a:tr>
              <a:tr h="347887">
                <a:tc>
                  <a:txBody>
                    <a:bodyPr/>
                    <a:lstStyle/>
                    <a:p>
                      <a:pPr algn="l" rtl="0" fontAlgn="b"/>
                      <a:r>
                        <a:rPr lang="vi-VN" sz="1600" u="sng" strike="noStrike" dirty="0">
                          <a:solidFill>
                            <a:schemeClr val="tx1"/>
                          </a:solidFill>
                          <a:effectLst/>
                          <a:latin typeface="+mj-lt"/>
                          <a:hlinkClick r:id="rId2">
                            <a:extLst>
                              <a:ext uri="{A12FA001-AC4F-418D-AE19-62706E023703}">
                                <ahyp:hlinkClr xmlns:ahyp="http://schemas.microsoft.com/office/drawing/2018/hyperlinkcolor" xmlns="" val="tx"/>
                              </a:ext>
                            </a:extLst>
                          </a:hlinkClick>
                        </a:rPr>
                        <a:t>Thị xã An Nhơn</a:t>
                      </a:r>
                      <a:endParaRPr lang="vi-VN" sz="1600" b="0" i="0" u="sng" strike="noStrike" dirty="0">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6.622,6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53,7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53</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65,2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93401629"/>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Thị xã Hoài Nhơn</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5.543,02</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54,2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80,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45,3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525169820"/>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Tuy Phước</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402,8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97,5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203,5</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16,6</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04446647"/>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Phù Cát</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6.948</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69</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078</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023</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718218094"/>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Phù Mỹ</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110,5</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523,7</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633,8</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450,5</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8690434"/>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Tây Sơn</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5.215,43</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220,5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799,6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43,03</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934483205"/>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Hoài Ân</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077,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594,6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4,8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372,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12306343"/>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An Lão</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101,3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6,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1,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30,5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77831574"/>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Vân Canh</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793</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3</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2</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48</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8528294"/>
                  </a:ext>
                </a:extLst>
              </a:tr>
              <a:tr h="347887">
                <a:tc>
                  <a:txBody>
                    <a:bodyPr/>
                    <a:lstStyle/>
                    <a:p>
                      <a:pPr algn="l" rtl="0" fontAlgn="b"/>
                      <a:r>
                        <a:rPr lang="vi-VN" sz="1600" u="sng" strike="noStrike">
                          <a:solidFill>
                            <a:schemeClr val="tx1"/>
                          </a:solidFill>
                          <a:effectLst/>
                          <a:latin typeface="+mj-lt"/>
                          <a:hlinkClick r:id="rId2">
                            <a:extLst>
                              <a:ext uri="{A12FA001-AC4F-418D-AE19-62706E023703}">
                                <ahyp:hlinkClr xmlns:ahyp="http://schemas.microsoft.com/office/drawing/2018/hyperlinkcolor" xmlns="" val="tx"/>
                              </a:ext>
                            </a:extLst>
                          </a:hlinkClick>
                        </a:rPr>
                        <a:t>Huyện Vĩnh Thạnh</a:t>
                      </a:r>
                      <a:endParaRPr lang="vi-VN" sz="16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103,6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41,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a:effectLst/>
                          <a:latin typeface="+mj-lt"/>
                        </a:rPr>
                        <a:t>101,00</a:t>
                      </a:r>
                      <a:endParaRPr lang="vi-VN" sz="2000" b="0" i="0" u="none" strike="noStrike">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2000" u="none" strike="noStrike" dirty="0">
                          <a:effectLst/>
                          <a:latin typeface="+mj-lt"/>
                        </a:rPr>
                        <a:t>203,00</a:t>
                      </a:r>
                      <a:endParaRPr lang="vi-VN" sz="2000" b="0" i="0" u="none" strike="noStrike" dirty="0">
                        <a:solidFill>
                          <a:srgbClr val="FF0000"/>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051520447"/>
                  </a:ext>
                </a:extLst>
              </a:tr>
            </a:tbl>
          </a:graphicData>
        </a:graphic>
      </p:graphicFrame>
      <p:graphicFrame>
        <p:nvGraphicFramePr>
          <p:cNvPr id="6" name="Table 5">
            <a:extLst>
              <a:ext uri="{FF2B5EF4-FFF2-40B4-BE49-F238E27FC236}">
                <a16:creationId xmlns:a16="http://schemas.microsoft.com/office/drawing/2014/main" xmlns="" id="{B5E5335D-2EED-82AF-3A59-FAE8BB94EAE1}"/>
              </a:ext>
            </a:extLst>
          </p:cNvPr>
          <p:cNvGraphicFramePr>
            <a:graphicFrameLocks noGrp="1"/>
          </p:cNvGraphicFramePr>
          <p:nvPr>
            <p:extLst>
              <p:ext uri="{D42A27DB-BD31-4B8C-83A1-F6EECF244321}">
                <p14:modId xmlns:p14="http://schemas.microsoft.com/office/powerpoint/2010/main" val="1916489616"/>
              </p:ext>
            </p:extLst>
          </p:nvPr>
        </p:nvGraphicFramePr>
        <p:xfrm>
          <a:off x="148784" y="1558624"/>
          <a:ext cx="3637605" cy="2529840"/>
        </p:xfrm>
        <a:graphic>
          <a:graphicData uri="http://schemas.openxmlformats.org/drawingml/2006/table">
            <a:tbl>
              <a:tblPr firstRow="1" bandRow="1"/>
              <a:tblGrid>
                <a:gridCol w="3637605">
                  <a:extLst>
                    <a:ext uri="{9D8B030D-6E8A-4147-A177-3AD203B41FA5}">
                      <a16:colId xmlns:a16="http://schemas.microsoft.com/office/drawing/2014/main" xmlns="" val="3655493598"/>
                    </a:ext>
                  </a:extLst>
                </a:gridCol>
              </a:tblGrid>
              <a:tr h="203458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vi-VN"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Tình</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hình</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thực</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hiện</a:t>
                      </a:r>
                      <a:r>
                        <a:rPr lang="vi-VN"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3200" b="0" kern="1200" dirty="0" err="1">
                          <a:solidFill>
                            <a:schemeClr val="tx1"/>
                          </a:solidFill>
                          <a:effectLst/>
                          <a:latin typeface="Times New Roman" panose="02020603050405020304" pitchFamily="18" charset="0"/>
                          <a:ea typeface="+mn-ea"/>
                          <a:cs typeface="Times New Roman" panose="02020603050405020304" pitchFamily="18" charset="0"/>
                        </a:rPr>
                        <a:t>gieo</a:t>
                      </a:r>
                      <a:r>
                        <a:rPr lang="en-U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3200" b="0" kern="1200" dirty="0" err="1">
                          <a:solidFill>
                            <a:schemeClr val="tx1"/>
                          </a:solidFill>
                          <a:effectLst/>
                          <a:latin typeface="Times New Roman" panose="02020603050405020304" pitchFamily="18" charset="0"/>
                          <a:ea typeface="+mn-ea"/>
                          <a:cs typeface="Times New Roman" panose="02020603050405020304" pitchFamily="18" charset="0"/>
                        </a:rPr>
                        <a:t>trồng</a:t>
                      </a:r>
                      <a:r>
                        <a:rPr lang="en-U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3200" b="0" kern="1200" dirty="0">
                          <a:solidFill>
                            <a:schemeClr val="tx1"/>
                          </a:solidFill>
                          <a:effectLst/>
                          <a:latin typeface="Times New Roman" panose="02020603050405020304" pitchFamily="18" charset="0"/>
                          <a:ea typeface="+mn-ea"/>
                          <a:cs typeface="Times New Roman" panose="02020603050405020304" pitchFamily="18" charset="0"/>
                        </a:rPr>
                        <a:t>4</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địa</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phương</a:t>
                      </a:r>
                      <a:endParaRPr lang="es-ES" sz="3200" b="0" kern="1200" dirty="0">
                        <a:solidFill>
                          <a:schemeClr val="tx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nhập</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hệ</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3200" b="0" kern="1200" dirty="0" err="1">
                          <a:solidFill>
                            <a:schemeClr val="tx1"/>
                          </a:solidFill>
                          <a:effectLst/>
                          <a:latin typeface="Times New Roman" panose="02020603050405020304" pitchFamily="18" charset="0"/>
                          <a:ea typeface="+mn-ea"/>
                          <a:cs typeface="Times New Roman" panose="02020603050405020304" pitchFamily="18" charset="0"/>
                        </a:rPr>
                        <a:t>thống</a:t>
                      </a:r>
                      <a:r>
                        <a:rPr lang="es-ES" sz="3200" b="0" kern="1200" dirty="0">
                          <a:solidFill>
                            <a:schemeClr val="tx1"/>
                          </a:solidFill>
                          <a:effectLst/>
                          <a:latin typeface="Times New Roman" panose="02020603050405020304" pitchFamily="18" charset="0"/>
                          <a:ea typeface="+mn-ea"/>
                          <a:cs typeface="Times New Roman" panose="02020603050405020304" pitchFamily="18" charset="0"/>
                        </a:rPr>
                        <a:t>)</a:t>
                      </a:r>
                      <a:endParaRPr lang="es-ES" sz="20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69022959"/>
                  </a:ext>
                </a:extLst>
              </a:tr>
            </a:tbl>
          </a:graphicData>
        </a:graphic>
      </p:graphicFrame>
    </p:spTree>
    <p:extLst>
      <p:ext uri="{BB962C8B-B14F-4D97-AF65-F5344CB8AC3E}">
        <p14:creationId xmlns:p14="http://schemas.microsoft.com/office/powerpoint/2010/main" val="3556149140"/>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561</TotalTime>
  <Words>5430</Words>
  <Application>Microsoft Office PowerPoint</Application>
  <PresentationFormat>Custom</PresentationFormat>
  <Paragraphs>1113</Paragraphs>
  <Slides>40</Slides>
  <Notes>9</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40</vt:i4>
      </vt:variant>
    </vt:vector>
  </HeadingPairs>
  <TitlesOfParts>
    <vt:vector size="44" baseType="lpstr">
      <vt:lpstr>Office Theme</vt:lpstr>
      <vt:lpstr>12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ỷ lệ giải ngân chung theo nguồn vố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DELL</cp:lastModifiedBy>
  <cp:revision>1294</cp:revision>
  <cp:lastPrinted>2023-02-15T11:16:09Z</cp:lastPrinted>
  <dcterms:created xsi:type="dcterms:W3CDTF">2021-10-19T01:28:52Z</dcterms:created>
  <dcterms:modified xsi:type="dcterms:W3CDTF">2023-05-08T12:32:45Z</dcterms:modified>
</cp:coreProperties>
</file>